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3" r:id="rId1"/>
    <p:sldMasterId id="2147483951" r:id="rId2"/>
    <p:sldMasterId id="2147484037" r:id="rId3"/>
    <p:sldMasterId id="2147484091" r:id="rId4"/>
    <p:sldMasterId id="2147484153" r:id="rId5"/>
    <p:sldMasterId id="2147484216" r:id="rId6"/>
    <p:sldMasterId id="2147484228" r:id="rId7"/>
    <p:sldMasterId id="2147484231" r:id="rId8"/>
    <p:sldMasterId id="2147484251" r:id="rId9"/>
  </p:sldMasterIdLst>
  <p:notesMasterIdLst>
    <p:notesMasterId r:id="rId23"/>
  </p:notesMasterIdLst>
  <p:handoutMasterIdLst>
    <p:handoutMasterId r:id="rId24"/>
  </p:handoutMasterIdLst>
  <p:sldIdLst>
    <p:sldId id="397" r:id="rId10"/>
    <p:sldId id="390" r:id="rId11"/>
    <p:sldId id="400" r:id="rId12"/>
    <p:sldId id="402" r:id="rId13"/>
    <p:sldId id="399" r:id="rId14"/>
    <p:sldId id="392" r:id="rId15"/>
    <p:sldId id="398" r:id="rId16"/>
    <p:sldId id="385" r:id="rId17"/>
    <p:sldId id="386" r:id="rId18"/>
    <p:sldId id="401" r:id="rId19"/>
    <p:sldId id="306" r:id="rId20"/>
    <p:sldId id="395" r:id="rId21"/>
    <p:sldId id="396" r:id="rId22"/>
  </p:sldIdLst>
  <p:sldSz cx="10691813" cy="7559675"/>
  <p:notesSz cx="6735763" cy="9866313"/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лисов Артём Викторович" initials="ВАВ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0AD"/>
    <a:srgbClr val="F83458"/>
    <a:srgbClr val="DEE2F4"/>
    <a:srgbClr val="CBD4F5"/>
    <a:srgbClr val="FF496C"/>
    <a:srgbClr val="EBEEF9"/>
    <a:srgbClr val="E2E6F6"/>
    <a:srgbClr val="DFE5F9"/>
    <a:srgbClr val="EDF5FE"/>
    <a:srgbClr val="FEE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07" autoAdjust="0"/>
    <p:restoredTop sz="96433" autoAdjust="0"/>
  </p:normalViewPr>
  <p:slideViewPr>
    <p:cSldViewPr snapToGrid="0">
      <p:cViewPr varScale="1">
        <p:scale>
          <a:sx n="104" d="100"/>
          <a:sy n="104" d="100"/>
        </p:scale>
        <p:origin x="1410" y="114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36" y="-84"/>
      </p:cViewPr>
      <p:guideLst>
        <p:guide orient="horz" pos="3107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E0C322FD-42AE-4246-AB70-1162A314EA1A}" type="datetimeFigureOut">
              <a:rPr lang="ru-RU" smtClean="0"/>
              <a:t>12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626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A4110C44-D1E6-4D64-B6C3-8DE2D9AADA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8831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9DA49908-1920-482F-A6D2-BADA50BDBEE5}" type="datetimeFigureOut">
              <a:rPr lang="ru-RU" smtClean="0"/>
              <a:t>12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14413" y="1233488"/>
            <a:ext cx="47069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2" y="4747760"/>
            <a:ext cx="5389240" cy="3884673"/>
          </a:xfrm>
          <a:prstGeom prst="rect">
            <a:avLst/>
          </a:prstGeom>
        </p:spPr>
        <p:txBody>
          <a:bodyPr vert="horz" lIns="90763" tIns="45382" rIns="90763" bIns="453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26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6D56703D-D415-4AB4-BF73-AFF4B5C7A4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4678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56703D-D415-4AB4-BF73-AFF4B5C7A4A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560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56703D-D415-4AB4-BF73-AFF4B5C7A4A2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794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52475" y="739775"/>
            <a:ext cx="52308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46C99-A7C5-482F-9661-F6BBB29A2611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986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5799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69361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фотографие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009119" y="1716078"/>
            <a:ext cx="4546630" cy="5000654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4"/>
          </p:nvPr>
        </p:nvSpPr>
        <p:spPr>
          <a:xfrm>
            <a:off x="580998" y="1716678"/>
            <a:ext cx="4209901" cy="3968829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1681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8881580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-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sp>
        <p:nvSpPr>
          <p:cNvPr id="5" name="Рисунок SmartArt 4"/>
          <p:cNvSpPr>
            <a:spLocks noGrp="1"/>
          </p:cNvSpPr>
          <p:nvPr>
            <p:ph type="dgm" sz="quarter" idx="14"/>
          </p:nvPr>
        </p:nvSpPr>
        <p:spPr>
          <a:xfrm>
            <a:off x="546686" y="1557436"/>
            <a:ext cx="9009122" cy="523927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049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4"/>
          </p:nvPr>
        </p:nvSpPr>
        <p:spPr>
          <a:xfrm>
            <a:off x="546686" y="1557433"/>
            <a:ext cx="9009122" cy="515877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9358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sp>
        <p:nvSpPr>
          <p:cNvPr id="5" name="Таблица 4"/>
          <p:cNvSpPr>
            <a:spLocks noGrp="1"/>
          </p:cNvSpPr>
          <p:nvPr>
            <p:ph type="tbl" sz="quarter" idx="14"/>
          </p:nvPr>
        </p:nvSpPr>
        <p:spPr>
          <a:xfrm>
            <a:off x="546686" y="1557433"/>
            <a:ext cx="9009122" cy="492078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6274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40985" y="1477951"/>
            <a:ext cx="5220205" cy="5238781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Заключительный текст</a:t>
            </a:r>
          </a:p>
        </p:txBody>
      </p:sp>
    </p:spTree>
    <p:extLst>
      <p:ext uri="{BB962C8B-B14F-4D97-AF65-F5344CB8AC3E}">
        <p14:creationId xmlns:p14="http://schemas.microsoft.com/office/powerpoint/2010/main" val="6853409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446067"/>
            <a:ext cx="9021159" cy="635004"/>
          </a:xfrm>
        </p:spPr>
        <p:txBody>
          <a:bodyPr anchor="t">
            <a:noAutofit/>
          </a:bodyPr>
          <a:lstStyle>
            <a:lvl1pPr>
              <a:defRPr sz="2300"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Название слайда, шрифт </a:t>
            </a:r>
            <a:r>
              <a:rPr lang="ru-RU" dirty="0" err="1"/>
              <a:t>Arial</a:t>
            </a:r>
            <a:r>
              <a:rPr lang="ru-RU" dirty="0"/>
              <a:t>, 2</a:t>
            </a:r>
            <a:r>
              <a:rPr lang="en-US" dirty="0"/>
              <a:t>0</a:t>
            </a:r>
            <a:r>
              <a:rPr lang="ru-RU" dirty="0"/>
              <a:t>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937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1886" y="2348403"/>
            <a:ext cx="9088041" cy="162043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3772" y="4283818"/>
            <a:ext cx="7484269" cy="193191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884EB-F480-43C8-B79E-40610A0F267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E6F60-8952-447D-AF85-B61727C278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009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540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571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0535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45720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61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352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4237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61790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48587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9762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5383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00333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59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9082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577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746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168909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730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90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0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39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180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179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336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11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643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22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080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6302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798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6840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167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558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705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72615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6521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28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5661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22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8119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3457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190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9504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437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089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41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0962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4434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716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6643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7594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878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28635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9345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672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8025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19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5465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538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5233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4922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7404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3929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6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6242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6557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34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12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876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4397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7498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404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351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4226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4253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0723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410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227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65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5855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7518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220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0070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554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800656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545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0184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4439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9493" y="1884670"/>
            <a:ext cx="9221689" cy="3144614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9493" y="5059034"/>
            <a:ext cx="9221689" cy="165367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5935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43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5690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402483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6455" y="1853171"/>
            <a:ext cx="4523138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36455" y="2761381"/>
            <a:ext cx="4523138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12730" y="1853171"/>
            <a:ext cx="4545413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412730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260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43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8224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0704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8639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156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35062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2803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816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68792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746166" y="3191289"/>
            <a:ext cx="4715024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 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2</a:t>
            </a:r>
            <a:r>
              <a:rPr lang="en-US" dirty="0"/>
              <a:t>4</a:t>
            </a:r>
            <a:r>
              <a:rPr lang="ru-RU" dirty="0"/>
              <a:t> пт.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746166" y="4970470"/>
            <a:ext cx="4715024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73" y="525445"/>
            <a:ext cx="4198759" cy="1108331"/>
          </a:xfrm>
          <a:prstGeom prst="rect">
            <a:avLst/>
          </a:prstGeom>
        </p:spPr>
      </p:pic>
      <p:sp>
        <p:nvSpPr>
          <p:cNvPr id="22" name="Объект 2"/>
          <p:cNvSpPr>
            <a:spLocks noGrp="1"/>
          </p:cNvSpPr>
          <p:nvPr>
            <p:ph idx="13" hasCustomPrompt="1"/>
          </p:nvPr>
        </p:nvSpPr>
        <p:spPr>
          <a:xfrm>
            <a:off x="3746166" y="6875481"/>
            <a:ext cx="4715024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273126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3551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7" r="17795"/>
          <a:stretch/>
        </p:blipFill>
        <p:spPr>
          <a:xfrm>
            <a:off x="1" y="0"/>
            <a:ext cx="6314063" cy="7559675"/>
          </a:xfrm>
          <a:prstGeom prst="rect">
            <a:avLst/>
          </a:prstGeom>
        </p:spPr>
      </p:pic>
      <p:sp>
        <p:nvSpPr>
          <p:cNvPr id="8" name="Полилиния 7"/>
          <p:cNvSpPr/>
          <p:nvPr userDrawn="1"/>
        </p:nvSpPr>
        <p:spPr>
          <a:xfrm>
            <a:off x="4548554" y="4"/>
            <a:ext cx="6143262" cy="7559674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925" h="6857999">
                <a:moveTo>
                  <a:pt x="294467" y="0"/>
                </a:moveTo>
                <a:lnTo>
                  <a:pt x="5253925" y="0"/>
                </a:lnTo>
                <a:lnTo>
                  <a:pt x="5253925" y="6857999"/>
                </a:lnTo>
                <a:lnTo>
                  <a:pt x="0" y="6857999"/>
                </a:lnTo>
                <a:lnTo>
                  <a:pt x="1108128" y="2069023"/>
                </a:lnTo>
                <a:lnTo>
                  <a:pt x="294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 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2</a:t>
            </a:r>
            <a:r>
              <a:rPr lang="en-US" dirty="0"/>
              <a:t>4</a:t>
            </a:r>
            <a:r>
              <a:rPr lang="ru-RU" dirty="0"/>
              <a:t> пт.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14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3091969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 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2</a:t>
            </a:r>
            <a:r>
              <a:rPr lang="en-US" dirty="0"/>
              <a:t>4</a:t>
            </a:r>
            <a:r>
              <a:rPr lang="ru-RU" dirty="0"/>
              <a:t> пт.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</a:t>
            </a:r>
            <a:br>
              <a:rPr lang="en-US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9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16536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 5"/>
          <p:cNvSpPr/>
          <p:nvPr userDrawn="1"/>
        </p:nvSpPr>
        <p:spPr>
          <a:xfrm>
            <a:off x="-11997" y="606844"/>
            <a:ext cx="8978368" cy="6341498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4207789 w 9167247"/>
              <a:gd name="connsiteY0" fmla="*/ 0 h 6857999"/>
              <a:gd name="connsiteX1" fmla="*/ 0 w 9167247"/>
              <a:gd name="connsiteY1" fmla="*/ 0 h 6857999"/>
              <a:gd name="connsiteX2" fmla="*/ 9167247 w 9167247"/>
              <a:gd name="connsiteY2" fmla="*/ 6857999 h 6857999"/>
              <a:gd name="connsiteX3" fmla="*/ 3913322 w 9167247"/>
              <a:gd name="connsiteY3" fmla="*/ 6857999 h 6857999"/>
              <a:gd name="connsiteX4" fmla="*/ 5021450 w 9167247"/>
              <a:gd name="connsiteY4" fmla="*/ 2069023 h 6857999"/>
              <a:gd name="connsiteX5" fmla="*/ 4207789 w 9167247"/>
              <a:gd name="connsiteY5" fmla="*/ 0 h 6857999"/>
              <a:gd name="connsiteX0" fmla="*/ 4207789 w 5021450"/>
              <a:gd name="connsiteY0" fmla="*/ 0 h 6873497"/>
              <a:gd name="connsiteX1" fmla="*/ 0 w 5021450"/>
              <a:gd name="connsiteY1" fmla="*/ 0 h 6873497"/>
              <a:gd name="connsiteX2" fmla="*/ 15498 w 5021450"/>
              <a:gd name="connsiteY2" fmla="*/ 6873497 h 6873497"/>
              <a:gd name="connsiteX3" fmla="*/ 3913322 w 5021450"/>
              <a:gd name="connsiteY3" fmla="*/ 6857999 h 6873497"/>
              <a:gd name="connsiteX4" fmla="*/ 5021450 w 5021450"/>
              <a:gd name="connsiteY4" fmla="*/ 2069023 h 6873497"/>
              <a:gd name="connsiteX5" fmla="*/ 4207789 w 5021450"/>
              <a:gd name="connsiteY5" fmla="*/ 0 h 6873497"/>
              <a:gd name="connsiteX0" fmla="*/ 7722556 w 8536217"/>
              <a:gd name="connsiteY0" fmla="*/ 0 h 6873497"/>
              <a:gd name="connsiteX1" fmla="*/ 0 w 8536217"/>
              <a:gd name="connsiteY1" fmla="*/ 9246 h 6873497"/>
              <a:gd name="connsiteX2" fmla="*/ 3530265 w 8536217"/>
              <a:gd name="connsiteY2" fmla="*/ 6873497 h 6873497"/>
              <a:gd name="connsiteX3" fmla="*/ 7428089 w 8536217"/>
              <a:gd name="connsiteY3" fmla="*/ 6857999 h 6873497"/>
              <a:gd name="connsiteX4" fmla="*/ 8536217 w 8536217"/>
              <a:gd name="connsiteY4" fmla="*/ 2069023 h 6873497"/>
              <a:gd name="connsiteX5" fmla="*/ 7722556 w 8536217"/>
              <a:gd name="connsiteY5" fmla="*/ 0 h 6873497"/>
              <a:gd name="connsiteX0" fmla="*/ 7722556 w 8536217"/>
              <a:gd name="connsiteY0" fmla="*/ 0 h 6864251"/>
              <a:gd name="connsiteX1" fmla="*/ 0 w 8536217"/>
              <a:gd name="connsiteY1" fmla="*/ 9246 h 6864251"/>
              <a:gd name="connsiteX2" fmla="*/ 6416 w 8536217"/>
              <a:gd name="connsiteY2" fmla="*/ 6864251 h 6864251"/>
              <a:gd name="connsiteX3" fmla="*/ 7428089 w 8536217"/>
              <a:gd name="connsiteY3" fmla="*/ 6857999 h 6864251"/>
              <a:gd name="connsiteX4" fmla="*/ 8536217 w 8536217"/>
              <a:gd name="connsiteY4" fmla="*/ 2069023 h 6864251"/>
              <a:gd name="connsiteX5" fmla="*/ 7722556 w 8536217"/>
              <a:gd name="connsiteY5" fmla="*/ 0 h 6864251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36513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73498"/>
              <a:gd name="connsiteX1" fmla="*/ 0 w 8536217"/>
              <a:gd name="connsiteY1" fmla="*/ 9246 h 6873498"/>
              <a:gd name="connsiteX2" fmla="*/ 15497 w 8536217"/>
              <a:gd name="connsiteY2" fmla="*/ 6873498 h 6873498"/>
              <a:gd name="connsiteX3" fmla="*/ 7428089 w 8536217"/>
              <a:gd name="connsiteY3" fmla="*/ 6857999 h 6873498"/>
              <a:gd name="connsiteX4" fmla="*/ 8536217 w 8536217"/>
              <a:gd name="connsiteY4" fmla="*/ 2069023 h 6873498"/>
              <a:gd name="connsiteX5" fmla="*/ 7722556 w 8536217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478682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6413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64252"/>
              <a:gd name="connsiteX1" fmla="*/ 0 w 8999402"/>
              <a:gd name="connsiteY1" fmla="*/ 0 h 6864252"/>
              <a:gd name="connsiteX2" fmla="*/ 6413 w 8999402"/>
              <a:gd name="connsiteY2" fmla="*/ 6864252 h 6864252"/>
              <a:gd name="connsiteX3" fmla="*/ 7891274 w 8999402"/>
              <a:gd name="connsiteY3" fmla="*/ 6857999 h 6864252"/>
              <a:gd name="connsiteX4" fmla="*/ 8999402 w 8999402"/>
              <a:gd name="connsiteY4" fmla="*/ 2069023 h 6864252"/>
              <a:gd name="connsiteX5" fmla="*/ 8185741 w 8999402"/>
              <a:gd name="connsiteY5" fmla="*/ 0 h 686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99402" h="6864252">
                <a:moveTo>
                  <a:pt x="8185741" y="0"/>
                </a:moveTo>
                <a:lnTo>
                  <a:pt x="0" y="0"/>
                </a:lnTo>
                <a:cubicBezTo>
                  <a:pt x="2139" y="2285002"/>
                  <a:pt x="4274" y="4579250"/>
                  <a:pt x="6413" y="6864252"/>
                </a:cubicBezTo>
                <a:lnTo>
                  <a:pt x="7891274" y="6857999"/>
                </a:lnTo>
                <a:lnTo>
                  <a:pt x="8999402" y="2069023"/>
                </a:lnTo>
                <a:lnTo>
                  <a:pt x="8185741" y="0"/>
                </a:lnTo>
                <a:close/>
              </a:path>
            </a:pathLst>
          </a:cu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325182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лайд-разделитель </a:t>
            </a:r>
            <a:br>
              <a:rPr lang="ru-RU" dirty="0"/>
            </a:br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, 24 пт.</a:t>
            </a:r>
          </a:p>
        </p:txBody>
      </p:sp>
      <p:sp>
        <p:nvSpPr>
          <p:cNvPr id="9" name="Подзаголовок 2"/>
          <p:cNvSpPr txBox="1">
            <a:spLocks/>
          </p:cNvSpPr>
          <p:nvPr userDrawn="1"/>
        </p:nvSpPr>
        <p:spPr>
          <a:xfrm>
            <a:off x="3325182" y="6240480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44EA-6A61-441B-9399-54A33483BC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3325182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>
                <a:solidFill>
                  <a:schemeClr val="tx1"/>
                </a:solidFill>
              </a:rPr>
              <a:t>шрифт </a:t>
            </a:r>
            <a:r>
              <a:rPr lang="ru-RU" sz="1100" dirty="0" err="1">
                <a:solidFill>
                  <a:schemeClr val="tx1"/>
                </a:solidFill>
              </a:rPr>
              <a:t>Arial</a:t>
            </a:r>
            <a:r>
              <a:rPr lang="ru-RU" sz="1100" dirty="0">
                <a:solidFill>
                  <a:schemeClr val="tx1"/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27498085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9276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лайд-разделитель </a:t>
            </a:r>
            <a:br>
              <a:rPr lang="ru-RU" dirty="0"/>
            </a:br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62032" y="6954860"/>
            <a:ext cx="2494756" cy="402483"/>
          </a:xfrm>
        </p:spPr>
        <p:txBody>
          <a:bodyPr/>
          <a:lstStyle/>
          <a:p>
            <a:fld id="{52F389DC-9E19-4EE8-A8D3-3244F47808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79" y="5529026"/>
            <a:ext cx="4198759" cy="1108331"/>
          </a:xfrm>
          <a:prstGeom prst="rect">
            <a:avLst/>
          </a:prstGeom>
        </p:spPr>
      </p:pic>
      <p:sp>
        <p:nvSpPr>
          <p:cNvPr id="13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799276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>
                <a:solidFill>
                  <a:schemeClr val="tx1"/>
                </a:solidFill>
              </a:rPr>
              <a:t>шрифт </a:t>
            </a:r>
            <a:r>
              <a:rPr lang="ru-RU" sz="1100" dirty="0" err="1">
                <a:solidFill>
                  <a:schemeClr val="tx1"/>
                </a:solidFill>
              </a:rPr>
              <a:t>Arial</a:t>
            </a:r>
            <a:r>
              <a:rPr lang="ru-RU" sz="1100" dirty="0">
                <a:solidFill>
                  <a:schemeClr val="tx1"/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40709446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35544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лайд-разделитель </a:t>
            </a:r>
            <a:br>
              <a:rPr lang="ru-RU" dirty="0"/>
            </a:br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шрифт </a:t>
            </a:r>
            <a:r>
              <a:rPr lang="ru-RU" dirty="0" err="1"/>
              <a:t>Arial</a:t>
            </a:r>
            <a:r>
              <a:rPr lang="ru-RU" dirty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356315" y="5837997"/>
            <a:ext cx="2494756" cy="40248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E28C9B7-77DB-42B5-AD07-0761FECA3530}" type="datetime1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2.05.2023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 userDrawn="1"/>
        </p:nvSpPr>
        <p:spPr>
          <a:xfrm>
            <a:off x="4335544" y="6954858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35544" y="1716075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>
                <a:solidFill>
                  <a:schemeClr val="tx1"/>
                </a:solidFill>
              </a:rPr>
              <a:t>шрифт </a:t>
            </a:r>
            <a:r>
              <a:rPr lang="ru-RU" sz="1100" dirty="0" err="1">
                <a:solidFill>
                  <a:schemeClr val="tx1"/>
                </a:solidFill>
              </a:rPr>
              <a:t>Arial</a:t>
            </a:r>
            <a:r>
              <a:rPr lang="ru-RU" sz="1100" dirty="0">
                <a:solidFill>
                  <a:schemeClr val="tx1"/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22023219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Название слайда, шрифт </a:t>
            </a:r>
            <a:r>
              <a:rPr lang="ru-RU" dirty="0" err="1"/>
              <a:t>Arial</a:t>
            </a:r>
            <a:r>
              <a:rPr lang="ru-RU" dirty="0"/>
              <a:t>, 2</a:t>
            </a:r>
            <a:r>
              <a:rPr lang="en-US" dirty="0"/>
              <a:t>4</a:t>
            </a:r>
            <a:r>
              <a:rPr lang="ru-RU" dirty="0"/>
              <a:t>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446074D7-7B97-4C60-B38F-D77E1B39E8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1238445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ы булитов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/>
              <a:t>Типы </a:t>
            </a:r>
            <a:r>
              <a:rPr lang="ru-RU" dirty="0" err="1"/>
              <a:t>булитов</a:t>
            </a:r>
            <a:endParaRPr lang="ru-RU" dirty="0"/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  <a:p>
            <a:pPr lvl="3"/>
            <a:r>
              <a:rPr lang="ru-RU" dirty="0"/>
              <a:t>Третий уровень</a:t>
            </a:r>
          </a:p>
          <a:p>
            <a:pPr lvl="4"/>
            <a:r>
              <a:rPr lang="ru-RU" dirty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2439868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4"/>
            <a:ext cx="9021159" cy="873130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7F6E1B9-6978-49A0-B769-AA0B478E9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</p:spTree>
    <p:extLst>
      <p:ext uri="{BB962C8B-B14F-4D97-AF65-F5344CB8AC3E}">
        <p14:creationId xmlns:p14="http://schemas.microsoft.com/office/powerpoint/2010/main" val="30166702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2" y="1557324"/>
            <a:ext cx="3969347" cy="500065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FB904C4-4AB9-4D84-8905-B291CF4EBD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9" name="Полилиния 8"/>
          <p:cNvSpPr/>
          <p:nvPr userDrawn="1"/>
        </p:nvSpPr>
        <p:spPr>
          <a:xfrm>
            <a:off x="5237176" y="2084252"/>
            <a:ext cx="4412638" cy="3886613"/>
          </a:xfrm>
          <a:custGeom>
            <a:avLst/>
            <a:gdLst>
              <a:gd name="connsiteX0" fmla="*/ 15498 w 3773837"/>
              <a:gd name="connsiteY0" fmla="*/ 0 h 3525865"/>
              <a:gd name="connsiteX1" fmla="*/ 3332136 w 3773837"/>
              <a:gd name="connsiteY1" fmla="*/ 0 h 3525865"/>
              <a:gd name="connsiteX2" fmla="*/ 3773837 w 3773837"/>
              <a:gd name="connsiteY2" fmla="*/ 1751309 h 3525865"/>
              <a:gd name="connsiteX3" fmla="*/ 3363132 w 3773837"/>
              <a:gd name="connsiteY3" fmla="*/ 3525865 h 3525865"/>
              <a:gd name="connsiteX4" fmla="*/ 0 w 3773837"/>
              <a:gd name="connsiteY4" fmla="*/ 3525865 h 3525865"/>
              <a:gd name="connsiteX5" fmla="*/ 418454 w 3773837"/>
              <a:gd name="connsiteY5" fmla="*/ 1720312 h 3525865"/>
              <a:gd name="connsiteX6" fmla="*/ 15498 w 3773837"/>
              <a:gd name="connsiteY6" fmla="*/ 0 h 352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3837" h="3525865">
                <a:moveTo>
                  <a:pt x="15498" y="0"/>
                </a:moveTo>
                <a:lnTo>
                  <a:pt x="3332136" y="0"/>
                </a:lnTo>
                <a:lnTo>
                  <a:pt x="3773837" y="1751309"/>
                </a:lnTo>
                <a:lnTo>
                  <a:pt x="3363132" y="3525865"/>
                </a:lnTo>
                <a:lnTo>
                  <a:pt x="0" y="3525865"/>
                </a:lnTo>
                <a:lnTo>
                  <a:pt x="418454" y="1720312"/>
                </a:lnTo>
                <a:lnTo>
                  <a:pt x="15498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1042615"/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09085309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Возможные стили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17209395-9309-40E7-BD11-3D5233B4DE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14" name="Объект 13"/>
          <p:cNvSpPr>
            <a:spLocks noGrp="1"/>
          </p:cNvSpPr>
          <p:nvPr>
            <p:ph sz="quarter" idx="14" hasCustomPrompt="1"/>
          </p:nvPr>
        </p:nvSpPr>
        <p:spPr>
          <a:xfrm>
            <a:off x="5598355" y="2033415"/>
            <a:ext cx="3621481" cy="396882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6" name="Таблица 15"/>
          <p:cNvSpPr>
            <a:spLocks noGrp="1"/>
          </p:cNvSpPr>
          <p:nvPr>
            <p:ph type="tbl" sz="quarter" idx="15"/>
          </p:nvPr>
        </p:nvSpPr>
        <p:spPr>
          <a:xfrm>
            <a:off x="580999" y="1557433"/>
            <a:ext cx="4007573" cy="492078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1843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17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497693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7" imgW="347" imgH="348" progId="TCLayout.ActiveDocument.1">
                  <p:embed/>
                </p:oleObj>
              </mc:Choice>
              <mc:Fallback>
                <p:oleObj name="Слайд think-cell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818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30" r:id="rId12"/>
    <p:sldLayoutId id="2147483932" r:id="rId13"/>
    <p:sldLayoutId id="2147483872" r:id="rId14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646216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2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7" r:id="rId13"/>
    <p:sldLayoutId id="2147484009" r:id="rId14"/>
    <p:sldLayoutId id="2147484010" r:id="rId15"/>
    <p:sldLayoutId id="2147484011" r:id="rId16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0315830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47" imgH="348" progId="TCLayout.ActiveDocument.1">
                  <p:embed/>
                </p:oleObj>
              </mc:Choice>
              <mc:Fallback>
                <p:oleObj name="Слайд think-cell" r:id="rId1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74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3" r:id="rId13"/>
    <p:sldLayoutId id="2147484089" r:id="rId14"/>
    <p:sldLayoutId id="2147484090" r:id="rId15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090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  <p:sldLayoutId id="2147484103" r:id="rId12"/>
    <p:sldLayoutId id="2147484112" r:id="rId13"/>
    <p:sldLayoutId id="2147484152" r:id="rId14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835016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1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9" r:id="rId13"/>
    <p:sldLayoutId id="2147484211" r:id="rId14"/>
    <p:sldLayoutId id="2147484212" r:id="rId15"/>
    <p:sldLayoutId id="2147484213" r:id="rId16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5062" y="402483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35062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541663" y="7006699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51093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70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0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591" y="302737"/>
            <a:ext cx="9622632" cy="12599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591" y="1763927"/>
            <a:ext cx="9622632" cy="49890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  <a:p>
            <a:pPr lvl="3"/>
            <a:r>
              <a:rPr lang="ru-RU" dirty="0"/>
              <a:t>Третий уровень</a:t>
            </a:r>
          </a:p>
          <a:p>
            <a:pPr lvl="4"/>
            <a:r>
              <a:rPr lang="ru-RU" dirty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591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46C04923-972A-48A5-9797-2231EA842F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12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036" y="7006701"/>
            <a:ext cx="3385741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2466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6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  <p:sldLayoutId id="2147484243" r:id="rId12"/>
    <p:sldLayoutId id="2147484244" r:id="rId13"/>
    <p:sldLayoutId id="2147484245" r:id="rId14"/>
    <p:sldLayoutId id="2147484246" r:id="rId15"/>
    <p:sldLayoutId id="2147484247" r:id="rId16"/>
    <p:sldLayoutId id="2147484248" r:id="rId17"/>
    <p:sldLayoutId id="2147484249" r:id="rId18"/>
    <p:sldLayoutId id="2147484250" r:id="rId19"/>
  </p:sldLayoutIdLst>
  <p:hf hdr="0" ftr="0" dt="0"/>
  <p:txStyles>
    <p:titleStyle>
      <a:lvl1pPr algn="l" defTabSz="1042615" rtl="0" eaLnBrk="1" latinLnBrk="0" hangingPunct="1">
        <a:spcBef>
          <a:spcPct val="0"/>
        </a:spcBef>
        <a:buNone/>
        <a:defRPr sz="27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847126" indent="-325818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Char char="►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303270" indent="-260653" algn="l" defTabSz="1042615" rtl="0" eaLnBrk="1" latinLnBrk="0" hangingPunct="1">
        <a:spcBef>
          <a:spcPct val="20000"/>
        </a:spcBef>
        <a:buFont typeface="Arial" pitchFamily="34" charset="0"/>
        <a:buChar char="―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824576" indent="-260653" algn="l" defTabSz="1042615" rtl="0" eaLnBrk="1" latinLnBrk="0" hangingPunct="1">
        <a:spcBef>
          <a:spcPct val="20000"/>
        </a:spcBef>
        <a:buFont typeface="Arial" pitchFamily="34" charset="0"/>
        <a:buChar char="&gt;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345885" indent="-260653" algn="l" defTabSz="1042615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867192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00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07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15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09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15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923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231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537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846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154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462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94957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84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7" r:id="rId13"/>
    <p:sldLayoutId id="2147484309" r:id="rId14"/>
    <p:sldLayoutId id="2147484310" r:id="rId15"/>
    <p:sldLayoutId id="2147484311" r:id="rId16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16.gif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88.xml"/><Relationship Id="rId5" Type="http://schemas.openxmlformats.org/officeDocument/2006/relationships/hyperlink" Target="mailto:msbsupport@mspbank.ru" TargetMode="External"/><Relationship Id="rId4" Type="http://schemas.openxmlformats.org/officeDocument/2006/relationships/hyperlink" Target="mailto:akimenko@mspbank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струменты финансовой поддержки субъектов МСП </a:t>
            </a:r>
            <a:br>
              <a:rPr lang="ru-RU" dirty="0"/>
            </a:br>
            <a:r>
              <a:rPr lang="ru-RU" dirty="0"/>
              <a:t>АО «МСП Банк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8197057" y="7034701"/>
            <a:ext cx="2494756" cy="402483"/>
          </a:xfrm>
        </p:spPr>
        <p:txBody>
          <a:bodyPr/>
          <a:lstStyle/>
          <a:p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81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1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дуктов прямого кредитования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77907" y="1362373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кредит «Семилетка для бизнеса»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6298" y="2929260"/>
            <a:ext cx="527122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, индивидуальный предприниматель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от текущей деятельност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на дату подачи заявк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менее 12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у Заемщик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рицательно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кредитной истор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77907" y="1745934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063170" y="201123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63169" y="2459723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15478" y="1603422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890944" y="1980456"/>
            <a:ext cx="1705223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4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063169" y="1672600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49490" y="2368139"/>
            <a:ext cx="4962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2309993" y="5826151"/>
            <a:ext cx="6429375" cy="723186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 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доступность из любой точки России через АИС НГС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04645" y="2687678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7908" y="2014738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: 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647465" y="1569811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815478" y="2382779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7,5% годовых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лючевая ставка Банка России + 10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948871" y="3330721"/>
            <a:ext cx="4576317" cy="2031236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ксированная ставка на 7 лет и аннуитет: </a:t>
            </a:r>
          </a:p>
          <a:p>
            <a:pPr marL="447675" lvl="0" indent="-1809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уверенность при планировании деятельности на длительный срок</a:t>
            </a:r>
          </a:p>
          <a:p>
            <a:pPr marL="447675" lvl="0" indent="-1809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изкая ежемесячная платежная нагрузка 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ложения в бизнес позволят:</a:t>
            </a:r>
          </a:p>
          <a:p>
            <a:pPr marL="447675" lvl="0" indent="-1809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растить выручку и прибыль, которые легко обеспечат возврат кредита и процентов </a:t>
            </a:r>
          </a:p>
          <a:p>
            <a:pPr marL="447675" lvl="0" indent="-1809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страховаться от инфляционного давления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106488" y="2969236"/>
            <a:ext cx="17091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имущества: </a:t>
            </a:r>
          </a:p>
        </p:txBody>
      </p:sp>
    </p:spTree>
    <p:extLst>
      <p:ext uri="{BB962C8B-B14F-4D97-AF65-F5344CB8AC3E}">
        <p14:creationId xmlns:p14="http://schemas.microsoft.com/office/powerpoint/2010/main" val="1036133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9182100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йная поддержка</a:t>
            </a:r>
          </a:p>
          <a:p>
            <a:pPr fontAlgn="auto">
              <a:spcAft>
                <a:spcPts val="0"/>
              </a:spcAft>
            </a:pP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и в рамках федеральных законов №44-ФЗ №223-ФЗ №185-ФЗ  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6433829" y="1678702"/>
            <a:ext cx="41217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Сокращенные сроки рассмотрения заявок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Автоматизированная система  выдачи электронных банковских гарантий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формление через интернет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До 30 млн рублей — без обеспечения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ткрытие расчетного счета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не требуется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Предварительное решение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по 2 документам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b="1" dirty="0">
              <a:latin typeface="Century Gothic" panose="020B050202020202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6460024" y="1253594"/>
            <a:ext cx="409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имущества:</a:t>
            </a:r>
            <a:r>
              <a:rPr lang="ru-RU" b="1" dirty="0">
                <a:solidFill>
                  <a:srgbClr val="F9345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361642" y="1449270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771482" y="1387715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325022" y="2140367"/>
            <a:ext cx="1431090" cy="46166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ассмотрения 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771482" y="1932949"/>
            <a:ext cx="4688542" cy="98488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гарантия до 5 млн 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4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часов</a:t>
            </a:r>
          </a:p>
          <a:p>
            <a:pPr lvl="0"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арантия от </a:t>
            </a:r>
            <a:r>
              <a:rPr lang="en-US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 до 100 млн рубле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100 млн до </a:t>
            </a:r>
            <a:r>
              <a:rPr lang="en-US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325022" y="3636174"/>
            <a:ext cx="105710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оимость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280" y="142212"/>
            <a:ext cx="1658535" cy="35680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647030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гарантии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001845"/>
              </p:ext>
            </p:extLst>
          </p:nvPr>
        </p:nvGraphicFramePr>
        <p:xfrm>
          <a:off x="325022" y="4010229"/>
          <a:ext cx="9972983" cy="23996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64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75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65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38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78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Сумма гарант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223 - ФЗ и 44 -ФЗ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№185-ФЗ (ПП РФ №615)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договоров с Заказчиками с государственным участием 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9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до 5 млн. рублей включительно для Самозанятых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-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9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effectLst/>
                        </a:rPr>
                        <a:t>до 10 млн. рублей включительн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,7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,7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3,5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38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более 10 млн. рублей до 50 млн. рублей включительно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2,7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2,7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3,5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419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более 50 млн. рубле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,5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969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0" y="857815"/>
            <a:ext cx="10570419" cy="5421188"/>
            <a:chOff x="760897" y="854949"/>
            <a:chExt cx="11726206" cy="4918003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760897" y="854949"/>
              <a:ext cx="11726206" cy="4918003"/>
              <a:chOff x="760897" y="983233"/>
              <a:chExt cx="11726206" cy="4918003"/>
            </a:xfrm>
          </p:grpSpPr>
          <p:pic>
            <p:nvPicPr>
              <p:cNvPr id="23" name="Picture 3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8798" t="10288" r="18256" b="39868"/>
              <a:stretch/>
            </p:blipFill>
            <p:spPr bwMode="auto">
              <a:xfrm>
                <a:off x="760897" y="983233"/>
                <a:ext cx="11726206" cy="4918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Прямоугольник 1"/>
              <p:cNvSpPr/>
              <p:nvPr/>
            </p:nvSpPr>
            <p:spPr>
              <a:xfrm>
                <a:off x="10559132" y="991072"/>
                <a:ext cx="1000125" cy="16478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10894575" y="4818704"/>
                <a:ext cx="436648" cy="10161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Прямоугольник 6"/>
            <p:cNvSpPr/>
            <p:nvPr/>
          </p:nvSpPr>
          <p:spPr>
            <a:xfrm>
              <a:off x="760897" y="930827"/>
              <a:ext cx="10456068" cy="8217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8" b="2735"/>
          <a:stretch/>
        </p:blipFill>
        <p:spPr bwMode="auto">
          <a:xfrm>
            <a:off x="8874650" y="6417096"/>
            <a:ext cx="831293" cy="103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0" y="1969"/>
            <a:ext cx="10686244" cy="793253"/>
          </a:xfrm>
          <a:prstGeom prst="rect">
            <a:avLst/>
          </a:prstGeom>
          <a:solidFill>
            <a:srgbClr val="4B91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grpSp>
        <p:nvGrpSpPr>
          <p:cNvPr id="20" name="Группа 19"/>
          <p:cNvGrpSpPr>
            <a:grpSpLocks noChangeAspect="1"/>
          </p:cNvGrpSpPr>
          <p:nvPr/>
        </p:nvGrpSpPr>
        <p:grpSpPr>
          <a:xfrm>
            <a:off x="9197911" y="231593"/>
            <a:ext cx="1262155" cy="334001"/>
            <a:chOff x="471310" y="-27283"/>
            <a:chExt cx="2892336" cy="608913"/>
          </a:xfrm>
        </p:grpSpPr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D2F09074-7E25-47FF-BFB3-5077D58EBFAB}"/>
                </a:ext>
              </a:extLst>
            </p:cNvPr>
            <p:cNvGrpSpPr/>
            <p:nvPr/>
          </p:nvGrpSpPr>
          <p:grpSpPr>
            <a:xfrm>
              <a:off x="471310" y="96007"/>
              <a:ext cx="1883308" cy="255154"/>
              <a:chOff x="4829174" y="3270291"/>
              <a:chExt cx="1649752" cy="223511"/>
            </a:xfrm>
            <a:solidFill>
              <a:schemeClr val="bg1"/>
            </a:solidFill>
          </p:grpSpPr>
          <p:sp>
            <p:nvSpPr>
              <p:cNvPr id="34" name="Полилиния: фигура 60">
                <a:extLst>
                  <a:ext uri="{FF2B5EF4-FFF2-40B4-BE49-F238E27FC236}">
                    <a16:creationId xmlns:a16="http://schemas.microsoft.com/office/drawing/2014/main" id="{D48941FC-8EB9-4F9F-9B53-C88F2A37CA31}"/>
                  </a:ext>
                </a:extLst>
              </p:cNvPr>
              <p:cNvSpPr/>
              <p:nvPr/>
            </p:nvSpPr>
            <p:spPr>
              <a:xfrm>
                <a:off x="4829174" y="3273101"/>
                <a:ext cx="254970" cy="216927"/>
              </a:xfrm>
              <a:custGeom>
                <a:avLst/>
                <a:gdLst>
                  <a:gd name="connsiteX0" fmla="*/ 184145 w 254970"/>
                  <a:gd name="connsiteY0" fmla="*/ 0 h 216928"/>
                  <a:gd name="connsiteX1" fmla="*/ 127485 w 254970"/>
                  <a:gd name="connsiteY1" fmla="*/ 130533 h 216928"/>
                  <a:gd name="connsiteX2" fmla="*/ 69881 w 254970"/>
                  <a:gd name="connsiteY2" fmla="*/ 0 h 216928"/>
                  <a:gd name="connsiteX3" fmla="*/ 0 w 254970"/>
                  <a:gd name="connsiteY3" fmla="*/ 0 h 216928"/>
                  <a:gd name="connsiteX4" fmla="*/ 0 w 254970"/>
                  <a:gd name="connsiteY4" fmla="*/ 216929 h 216928"/>
                  <a:gd name="connsiteX5" fmla="*/ 50050 w 254970"/>
                  <a:gd name="connsiteY5" fmla="*/ 216929 h 216928"/>
                  <a:gd name="connsiteX6" fmla="*/ 50050 w 254970"/>
                  <a:gd name="connsiteY6" fmla="*/ 64797 h 216928"/>
                  <a:gd name="connsiteX7" fmla="*/ 116153 w 254970"/>
                  <a:gd name="connsiteY7" fmla="*/ 216929 h 216928"/>
                  <a:gd name="connsiteX8" fmla="*/ 137873 w 254970"/>
                  <a:gd name="connsiteY8" fmla="*/ 216929 h 216928"/>
                  <a:gd name="connsiteX9" fmla="*/ 203976 w 254970"/>
                  <a:gd name="connsiteY9" fmla="*/ 64797 h 216928"/>
                  <a:gd name="connsiteX10" fmla="*/ 203976 w 254970"/>
                  <a:gd name="connsiteY10" fmla="*/ 216929 h 216928"/>
                  <a:gd name="connsiteX11" fmla="*/ 254970 w 254970"/>
                  <a:gd name="connsiteY11" fmla="*/ 216929 h 216928"/>
                  <a:gd name="connsiteX12" fmla="*/ 254970 w 254970"/>
                  <a:gd name="connsiteY12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4970" h="216928">
                    <a:moveTo>
                      <a:pt x="184145" y="0"/>
                    </a:moveTo>
                    <a:lnTo>
                      <a:pt x="127485" y="130533"/>
                    </a:lnTo>
                    <a:lnTo>
                      <a:pt x="69881" y="0"/>
                    </a:lnTo>
                    <a:lnTo>
                      <a:pt x="0" y="0"/>
                    </a:lnTo>
                    <a:lnTo>
                      <a:pt x="0" y="216929"/>
                    </a:lnTo>
                    <a:lnTo>
                      <a:pt x="50050" y="216929"/>
                    </a:lnTo>
                    <a:lnTo>
                      <a:pt x="50050" y="64797"/>
                    </a:lnTo>
                    <a:lnTo>
                      <a:pt x="116153" y="216929"/>
                    </a:lnTo>
                    <a:lnTo>
                      <a:pt x="137873" y="216929"/>
                    </a:lnTo>
                    <a:lnTo>
                      <a:pt x="203976" y="64797"/>
                    </a:lnTo>
                    <a:lnTo>
                      <a:pt x="203976" y="216929"/>
                    </a:lnTo>
                    <a:lnTo>
                      <a:pt x="254970" y="216929"/>
                    </a:lnTo>
                    <a:lnTo>
                      <a:pt x="254970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5" name="Полилиния: фигура 61">
                <a:extLst>
                  <a:ext uri="{FF2B5EF4-FFF2-40B4-BE49-F238E27FC236}">
                    <a16:creationId xmlns:a16="http://schemas.microsoft.com/office/drawing/2014/main" id="{C25B6F3B-F1C1-409C-9C89-F567F8D7E626}"/>
                  </a:ext>
                </a:extLst>
              </p:cNvPr>
              <p:cNvSpPr/>
              <p:nvPr/>
            </p:nvSpPr>
            <p:spPr>
              <a:xfrm>
                <a:off x="5116251" y="3270291"/>
                <a:ext cx="222862" cy="223502"/>
              </a:xfrm>
              <a:custGeom>
                <a:avLst/>
                <a:gdLst>
                  <a:gd name="connsiteX0" fmla="*/ 0 w 222862"/>
                  <a:gd name="connsiteY0" fmla="*/ 111751 h 223502"/>
                  <a:gd name="connsiteX1" fmla="*/ 124652 w 222862"/>
                  <a:gd name="connsiteY1" fmla="*/ 0 h 223502"/>
                  <a:gd name="connsiteX2" fmla="*/ 222863 w 222862"/>
                  <a:gd name="connsiteY2" fmla="*/ 52589 h 223502"/>
                  <a:gd name="connsiteX3" fmla="*/ 180368 w 222862"/>
                  <a:gd name="connsiteY3" fmla="*/ 72310 h 223502"/>
                  <a:gd name="connsiteX4" fmla="*/ 124652 w 222862"/>
                  <a:gd name="connsiteY4" fmla="*/ 40381 h 223502"/>
                  <a:gd name="connsiteX5" fmla="*/ 50994 w 222862"/>
                  <a:gd name="connsiteY5" fmla="*/ 111751 h 223502"/>
                  <a:gd name="connsiteX6" fmla="*/ 124652 w 222862"/>
                  <a:gd name="connsiteY6" fmla="*/ 182182 h 223502"/>
                  <a:gd name="connsiteX7" fmla="*/ 180368 w 222862"/>
                  <a:gd name="connsiteY7" fmla="*/ 151193 h 223502"/>
                  <a:gd name="connsiteX8" fmla="*/ 222863 w 222862"/>
                  <a:gd name="connsiteY8" fmla="*/ 169974 h 223502"/>
                  <a:gd name="connsiteX9" fmla="*/ 124652 w 222862"/>
                  <a:gd name="connsiteY9" fmla="*/ 223502 h 223502"/>
                  <a:gd name="connsiteX10" fmla="*/ 0 w 222862"/>
                  <a:gd name="connsiteY10" fmla="*/ 111751 h 223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2862" h="223502">
                    <a:moveTo>
                      <a:pt x="0" y="111751"/>
                    </a:moveTo>
                    <a:cubicBezTo>
                      <a:pt x="0" y="45076"/>
                      <a:pt x="54771" y="0"/>
                      <a:pt x="124652" y="0"/>
                    </a:cubicBezTo>
                    <a:cubicBezTo>
                      <a:pt x="176591" y="0"/>
                      <a:pt x="206809" y="25355"/>
                      <a:pt x="222863" y="52589"/>
                    </a:cubicBezTo>
                    <a:lnTo>
                      <a:pt x="180368" y="72310"/>
                    </a:lnTo>
                    <a:cubicBezTo>
                      <a:pt x="170925" y="54467"/>
                      <a:pt x="149205" y="40381"/>
                      <a:pt x="124652" y="40381"/>
                    </a:cubicBezTo>
                    <a:cubicBezTo>
                      <a:pt x="82157" y="40381"/>
                      <a:pt x="50994" y="70431"/>
                      <a:pt x="50994" y="111751"/>
                    </a:cubicBezTo>
                    <a:cubicBezTo>
                      <a:pt x="50994" y="152132"/>
                      <a:pt x="82157" y="182182"/>
                      <a:pt x="124652" y="182182"/>
                    </a:cubicBezTo>
                    <a:cubicBezTo>
                      <a:pt x="149205" y="182182"/>
                      <a:pt x="170925" y="169035"/>
                      <a:pt x="180368" y="151193"/>
                    </a:cubicBezTo>
                    <a:lnTo>
                      <a:pt x="222863" y="169974"/>
                    </a:lnTo>
                    <a:cubicBezTo>
                      <a:pt x="206809" y="197208"/>
                      <a:pt x="176591" y="223502"/>
                      <a:pt x="124652" y="223502"/>
                    </a:cubicBezTo>
                    <a:cubicBezTo>
                      <a:pt x="54771" y="223502"/>
                      <a:pt x="0" y="177487"/>
                      <a:pt x="0" y="111751"/>
                    </a:cubicBez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6" name="Полилиния: фигура 62">
                <a:extLst>
                  <a:ext uri="{FF2B5EF4-FFF2-40B4-BE49-F238E27FC236}">
                    <a16:creationId xmlns:a16="http://schemas.microsoft.com/office/drawing/2014/main" id="{A5941BD5-2DA8-4726-9354-30AA696E0F6B}"/>
                  </a:ext>
                </a:extLst>
              </p:cNvPr>
              <p:cNvSpPr/>
              <p:nvPr/>
            </p:nvSpPr>
            <p:spPr>
              <a:xfrm>
                <a:off x="5366499" y="3273113"/>
                <a:ext cx="211530" cy="216928"/>
              </a:xfrm>
              <a:custGeom>
                <a:avLst/>
                <a:gdLst>
                  <a:gd name="connsiteX0" fmla="*/ 160537 w 211530"/>
                  <a:gd name="connsiteY0" fmla="*/ 216929 h 216928"/>
                  <a:gd name="connsiteX1" fmla="*/ 160537 w 211530"/>
                  <a:gd name="connsiteY1" fmla="*/ 41320 h 216928"/>
                  <a:gd name="connsiteX2" fmla="*/ 50050 w 211530"/>
                  <a:gd name="connsiteY2" fmla="*/ 41320 h 216928"/>
                  <a:gd name="connsiteX3" fmla="*/ 50050 w 211530"/>
                  <a:gd name="connsiteY3" fmla="*/ 216929 h 216928"/>
                  <a:gd name="connsiteX4" fmla="*/ 0 w 211530"/>
                  <a:gd name="connsiteY4" fmla="*/ 216929 h 216928"/>
                  <a:gd name="connsiteX5" fmla="*/ 0 w 211530"/>
                  <a:gd name="connsiteY5" fmla="*/ 0 h 216928"/>
                  <a:gd name="connsiteX6" fmla="*/ 211531 w 211530"/>
                  <a:gd name="connsiteY6" fmla="*/ 0 h 216928"/>
                  <a:gd name="connsiteX7" fmla="*/ 211531 w 211530"/>
                  <a:gd name="connsiteY7" fmla="*/ 216929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530" h="216928">
                    <a:moveTo>
                      <a:pt x="160537" y="216929"/>
                    </a:moveTo>
                    <a:lnTo>
                      <a:pt x="160537" y="41320"/>
                    </a:lnTo>
                    <a:lnTo>
                      <a:pt x="50050" y="41320"/>
                    </a:lnTo>
                    <a:lnTo>
                      <a:pt x="50050" y="216929"/>
                    </a:lnTo>
                    <a:lnTo>
                      <a:pt x="0" y="216929"/>
                    </a:lnTo>
                    <a:lnTo>
                      <a:pt x="0" y="0"/>
                    </a:lnTo>
                    <a:lnTo>
                      <a:pt x="211531" y="0"/>
                    </a:lnTo>
                    <a:lnTo>
                      <a:pt x="211531" y="216929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7" name="Полилиния: фигура 63">
                <a:extLst>
                  <a:ext uri="{FF2B5EF4-FFF2-40B4-BE49-F238E27FC236}">
                    <a16:creationId xmlns:a16="http://schemas.microsoft.com/office/drawing/2014/main" id="{ABC7DA9B-726F-44AF-AEAA-75CDC184B77F}"/>
                  </a:ext>
                </a:extLst>
              </p:cNvPr>
              <p:cNvSpPr/>
              <p:nvPr/>
            </p:nvSpPr>
            <p:spPr>
              <a:xfrm>
                <a:off x="5707407" y="3273117"/>
                <a:ext cx="188866" cy="216928"/>
              </a:xfrm>
              <a:custGeom>
                <a:avLst/>
                <a:gdLst>
                  <a:gd name="connsiteX0" fmla="*/ 50050 w 188866"/>
                  <a:gd name="connsiteY0" fmla="*/ 119264 h 216928"/>
                  <a:gd name="connsiteX1" fmla="*/ 50050 w 188866"/>
                  <a:gd name="connsiteY1" fmla="*/ 175609 h 216928"/>
                  <a:gd name="connsiteX2" fmla="*/ 104821 w 188866"/>
                  <a:gd name="connsiteY2" fmla="*/ 175609 h 216928"/>
                  <a:gd name="connsiteX3" fmla="*/ 137873 w 188866"/>
                  <a:gd name="connsiteY3" fmla="*/ 147436 h 216928"/>
                  <a:gd name="connsiteX4" fmla="*/ 104821 w 188866"/>
                  <a:gd name="connsiteY4" fmla="*/ 119264 h 216928"/>
                  <a:gd name="connsiteX5" fmla="*/ 50050 w 188866"/>
                  <a:gd name="connsiteY5" fmla="*/ 119264 h 216928"/>
                  <a:gd name="connsiteX6" fmla="*/ 171869 w 188866"/>
                  <a:gd name="connsiteY6" fmla="*/ 0 h 216928"/>
                  <a:gd name="connsiteX7" fmla="*/ 171869 w 188866"/>
                  <a:gd name="connsiteY7" fmla="*/ 41320 h 216928"/>
                  <a:gd name="connsiteX8" fmla="*/ 50050 w 188866"/>
                  <a:gd name="connsiteY8" fmla="*/ 41320 h 216928"/>
                  <a:gd name="connsiteX9" fmla="*/ 50050 w 188866"/>
                  <a:gd name="connsiteY9" fmla="*/ 78883 h 216928"/>
                  <a:gd name="connsiteX10" fmla="*/ 111431 w 188866"/>
                  <a:gd name="connsiteY10" fmla="*/ 78883 h 216928"/>
                  <a:gd name="connsiteX11" fmla="*/ 188867 w 188866"/>
                  <a:gd name="connsiteY11" fmla="*/ 147436 h 216928"/>
                  <a:gd name="connsiteX12" fmla="*/ 111431 w 188866"/>
                  <a:gd name="connsiteY12" fmla="*/ 216929 h 216928"/>
                  <a:gd name="connsiteX13" fmla="*/ 0 w 188866"/>
                  <a:gd name="connsiteY13" fmla="*/ 216929 h 216928"/>
                  <a:gd name="connsiteX14" fmla="*/ 0 w 188866"/>
                  <a:gd name="connsiteY14" fmla="*/ 0 h 216928"/>
                  <a:gd name="connsiteX15" fmla="*/ 171869 w 188866"/>
                  <a:gd name="connsiteY15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8866" h="216928">
                    <a:moveTo>
                      <a:pt x="50050" y="119264"/>
                    </a:moveTo>
                    <a:lnTo>
                      <a:pt x="50050" y="175609"/>
                    </a:lnTo>
                    <a:lnTo>
                      <a:pt x="104821" y="175609"/>
                    </a:lnTo>
                    <a:cubicBezTo>
                      <a:pt x="123708" y="175609"/>
                      <a:pt x="137873" y="165279"/>
                      <a:pt x="137873" y="147436"/>
                    </a:cubicBezTo>
                    <a:cubicBezTo>
                      <a:pt x="137873" y="130533"/>
                      <a:pt x="123708" y="119264"/>
                      <a:pt x="104821" y="119264"/>
                    </a:cubicBezTo>
                    <a:lnTo>
                      <a:pt x="50050" y="119264"/>
                    </a:lnTo>
                    <a:close/>
                    <a:moveTo>
                      <a:pt x="171869" y="0"/>
                    </a:moveTo>
                    <a:lnTo>
                      <a:pt x="171869" y="41320"/>
                    </a:lnTo>
                    <a:lnTo>
                      <a:pt x="50050" y="41320"/>
                    </a:lnTo>
                    <a:lnTo>
                      <a:pt x="50050" y="78883"/>
                    </a:lnTo>
                    <a:lnTo>
                      <a:pt x="111431" y="78883"/>
                    </a:lnTo>
                    <a:cubicBezTo>
                      <a:pt x="161481" y="78883"/>
                      <a:pt x="188867" y="110812"/>
                      <a:pt x="188867" y="147436"/>
                    </a:cubicBezTo>
                    <a:cubicBezTo>
                      <a:pt x="188867" y="185000"/>
                      <a:pt x="161481" y="216929"/>
                      <a:pt x="111431" y="216929"/>
                    </a:cubicBezTo>
                    <a:lnTo>
                      <a:pt x="0" y="216929"/>
                    </a:lnTo>
                    <a:lnTo>
                      <a:pt x="0" y="0"/>
                    </a:lnTo>
                    <a:lnTo>
                      <a:pt x="171869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8" name="Полилиния: фигура 64">
                <a:extLst>
                  <a:ext uri="{FF2B5EF4-FFF2-40B4-BE49-F238E27FC236}">
                    <a16:creationId xmlns:a16="http://schemas.microsoft.com/office/drawing/2014/main" id="{EF8C3860-6598-4CA0-85C6-A93885CE466C}"/>
                  </a:ext>
                </a:extLst>
              </p:cNvPr>
              <p:cNvSpPr/>
              <p:nvPr/>
            </p:nvSpPr>
            <p:spPr>
              <a:xfrm>
                <a:off x="5912328" y="3329463"/>
                <a:ext cx="157703" cy="164339"/>
              </a:xfrm>
              <a:custGeom>
                <a:avLst/>
                <a:gdLst>
                  <a:gd name="connsiteX0" fmla="*/ 113320 w 157703"/>
                  <a:gd name="connsiteY0" fmla="*/ 122081 h 164339"/>
                  <a:gd name="connsiteX1" fmla="*/ 113320 w 157703"/>
                  <a:gd name="connsiteY1" fmla="*/ 103299 h 164339"/>
                  <a:gd name="connsiteX2" fmla="*/ 77435 w 157703"/>
                  <a:gd name="connsiteY2" fmla="*/ 89213 h 164339"/>
                  <a:gd name="connsiteX3" fmla="*/ 45328 w 157703"/>
                  <a:gd name="connsiteY3" fmla="*/ 112690 h 164339"/>
                  <a:gd name="connsiteX4" fmla="*/ 77435 w 157703"/>
                  <a:gd name="connsiteY4" fmla="*/ 136167 h 164339"/>
                  <a:gd name="connsiteX5" fmla="*/ 113320 w 157703"/>
                  <a:gd name="connsiteY5" fmla="*/ 122081 h 164339"/>
                  <a:gd name="connsiteX6" fmla="*/ 113320 w 157703"/>
                  <a:gd name="connsiteY6" fmla="*/ 160583 h 164339"/>
                  <a:gd name="connsiteX7" fmla="*/ 113320 w 157703"/>
                  <a:gd name="connsiteY7" fmla="*/ 143680 h 164339"/>
                  <a:gd name="connsiteX8" fmla="*/ 59493 w 157703"/>
                  <a:gd name="connsiteY8" fmla="*/ 164340 h 164339"/>
                  <a:gd name="connsiteX9" fmla="*/ 0 w 157703"/>
                  <a:gd name="connsiteY9" fmla="*/ 111751 h 164339"/>
                  <a:gd name="connsiteX10" fmla="*/ 59493 w 157703"/>
                  <a:gd name="connsiteY10" fmla="*/ 61980 h 164339"/>
                  <a:gd name="connsiteX11" fmla="*/ 113320 w 157703"/>
                  <a:gd name="connsiteY11" fmla="*/ 80761 h 164339"/>
                  <a:gd name="connsiteX12" fmla="*/ 113320 w 157703"/>
                  <a:gd name="connsiteY12" fmla="*/ 60101 h 164339"/>
                  <a:gd name="connsiteX13" fmla="*/ 75547 w 157703"/>
                  <a:gd name="connsiteY13" fmla="*/ 33807 h 164339"/>
                  <a:gd name="connsiteX14" fmla="*/ 26441 w 157703"/>
                  <a:gd name="connsiteY14" fmla="*/ 51650 h 164339"/>
                  <a:gd name="connsiteX15" fmla="*/ 9443 w 157703"/>
                  <a:gd name="connsiteY15" fmla="*/ 24416 h 164339"/>
                  <a:gd name="connsiteX16" fmla="*/ 84046 w 157703"/>
                  <a:gd name="connsiteY16" fmla="*/ 0 h 164339"/>
                  <a:gd name="connsiteX17" fmla="*/ 157704 w 157703"/>
                  <a:gd name="connsiteY17" fmla="*/ 59162 h 164339"/>
                  <a:gd name="connsiteX18" fmla="*/ 157704 w 157703"/>
                  <a:gd name="connsiteY18" fmla="*/ 160583 h 164339"/>
                  <a:gd name="connsiteX19" fmla="*/ 113320 w 157703"/>
                  <a:gd name="connsiteY19" fmla="*/ 160583 h 16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7703" h="164339">
                    <a:moveTo>
                      <a:pt x="113320" y="122081"/>
                    </a:moveTo>
                    <a:lnTo>
                      <a:pt x="113320" y="103299"/>
                    </a:lnTo>
                    <a:cubicBezTo>
                      <a:pt x="105765" y="93908"/>
                      <a:pt x="91600" y="89213"/>
                      <a:pt x="77435" y="89213"/>
                    </a:cubicBezTo>
                    <a:cubicBezTo>
                      <a:pt x="59493" y="89213"/>
                      <a:pt x="45328" y="97665"/>
                      <a:pt x="45328" y="112690"/>
                    </a:cubicBezTo>
                    <a:cubicBezTo>
                      <a:pt x="45328" y="127715"/>
                      <a:pt x="59493" y="136167"/>
                      <a:pt x="77435" y="136167"/>
                    </a:cubicBezTo>
                    <a:cubicBezTo>
                      <a:pt x="91600" y="136167"/>
                      <a:pt x="105765" y="131472"/>
                      <a:pt x="113320" y="122081"/>
                    </a:cubicBezTo>
                    <a:close/>
                    <a:moveTo>
                      <a:pt x="113320" y="160583"/>
                    </a:moveTo>
                    <a:lnTo>
                      <a:pt x="113320" y="143680"/>
                    </a:lnTo>
                    <a:cubicBezTo>
                      <a:pt x="101988" y="156827"/>
                      <a:pt x="81213" y="164340"/>
                      <a:pt x="59493" y="164340"/>
                    </a:cubicBezTo>
                    <a:cubicBezTo>
                      <a:pt x="32107" y="164340"/>
                      <a:pt x="0" y="147436"/>
                      <a:pt x="0" y="111751"/>
                    </a:cubicBezTo>
                    <a:cubicBezTo>
                      <a:pt x="0" y="76066"/>
                      <a:pt x="32107" y="61980"/>
                      <a:pt x="59493" y="61980"/>
                    </a:cubicBezTo>
                    <a:cubicBezTo>
                      <a:pt x="82157" y="61980"/>
                      <a:pt x="101988" y="68553"/>
                      <a:pt x="113320" y="80761"/>
                    </a:cubicBezTo>
                    <a:lnTo>
                      <a:pt x="113320" y="60101"/>
                    </a:lnTo>
                    <a:cubicBezTo>
                      <a:pt x="113320" y="44137"/>
                      <a:pt x="98211" y="33807"/>
                      <a:pt x="75547" y="33807"/>
                    </a:cubicBezTo>
                    <a:cubicBezTo>
                      <a:pt x="57604" y="33807"/>
                      <a:pt x="40606" y="39442"/>
                      <a:pt x="26441" y="51650"/>
                    </a:cubicBezTo>
                    <a:lnTo>
                      <a:pt x="9443" y="24416"/>
                    </a:lnTo>
                    <a:cubicBezTo>
                      <a:pt x="30219" y="7513"/>
                      <a:pt x="56660" y="0"/>
                      <a:pt x="84046" y="0"/>
                    </a:cubicBezTo>
                    <a:cubicBezTo>
                      <a:pt x="122764" y="0"/>
                      <a:pt x="157704" y="14086"/>
                      <a:pt x="157704" y="59162"/>
                    </a:cubicBezTo>
                    <a:lnTo>
                      <a:pt x="157704" y="160583"/>
                    </a:lnTo>
                    <a:lnTo>
                      <a:pt x="113320" y="160583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9" name="Полилиния: фигура 65">
                <a:extLst>
                  <a:ext uri="{FF2B5EF4-FFF2-40B4-BE49-F238E27FC236}">
                    <a16:creationId xmlns:a16="http://schemas.microsoft.com/office/drawing/2014/main" id="{8838ABF2-34BB-4C2F-B6E7-44B148577E02}"/>
                  </a:ext>
                </a:extLst>
              </p:cNvPr>
              <p:cNvSpPr/>
              <p:nvPr/>
            </p:nvSpPr>
            <p:spPr>
              <a:xfrm>
                <a:off x="6111587" y="3333210"/>
                <a:ext cx="159592" cy="156827"/>
              </a:xfrm>
              <a:custGeom>
                <a:avLst/>
                <a:gdLst>
                  <a:gd name="connsiteX0" fmla="*/ 0 w 159592"/>
                  <a:gd name="connsiteY0" fmla="*/ 156827 h 156827"/>
                  <a:gd name="connsiteX1" fmla="*/ 0 w 159592"/>
                  <a:gd name="connsiteY1" fmla="*/ 0 h 156827"/>
                  <a:gd name="connsiteX2" fmla="*/ 44384 w 159592"/>
                  <a:gd name="connsiteY2" fmla="*/ 0 h 156827"/>
                  <a:gd name="connsiteX3" fmla="*/ 44384 w 159592"/>
                  <a:gd name="connsiteY3" fmla="*/ 58223 h 156827"/>
                  <a:gd name="connsiteX4" fmla="*/ 115209 w 159592"/>
                  <a:gd name="connsiteY4" fmla="*/ 58223 h 156827"/>
                  <a:gd name="connsiteX5" fmla="*/ 115209 w 159592"/>
                  <a:gd name="connsiteY5" fmla="*/ 0 h 156827"/>
                  <a:gd name="connsiteX6" fmla="*/ 159593 w 159592"/>
                  <a:gd name="connsiteY6" fmla="*/ 0 h 156827"/>
                  <a:gd name="connsiteX7" fmla="*/ 159593 w 159592"/>
                  <a:gd name="connsiteY7" fmla="*/ 156827 h 156827"/>
                  <a:gd name="connsiteX8" fmla="*/ 115209 w 159592"/>
                  <a:gd name="connsiteY8" fmla="*/ 156827 h 156827"/>
                  <a:gd name="connsiteX9" fmla="*/ 115209 w 159592"/>
                  <a:gd name="connsiteY9" fmla="*/ 93908 h 156827"/>
                  <a:gd name="connsiteX10" fmla="*/ 44384 w 159592"/>
                  <a:gd name="connsiteY10" fmla="*/ 93908 h 156827"/>
                  <a:gd name="connsiteX11" fmla="*/ 44384 w 15959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9592" h="156827">
                    <a:moveTo>
                      <a:pt x="0" y="156827"/>
                    </a:move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58223"/>
                    </a:lnTo>
                    <a:lnTo>
                      <a:pt x="115209" y="58223"/>
                    </a:lnTo>
                    <a:lnTo>
                      <a:pt x="115209" y="0"/>
                    </a:lnTo>
                    <a:lnTo>
                      <a:pt x="159593" y="0"/>
                    </a:lnTo>
                    <a:lnTo>
                      <a:pt x="159593" y="156827"/>
                    </a:lnTo>
                    <a:lnTo>
                      <a:pt x="115209" y="156827"/>
                    </a:lnTo>
                    <a:lnTo>
                      <a:pt x="115209" y="93908"/>
                    </a:lnTo>
                    <a:lnTo>
                      <a:pt x="44384" y="93908"/>
                    </a:lnTo>
                    <a:lnTo>
                      <a:pt x="44384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40" name="Полилиния: фигура 66">
                <a:extLst>
                  <a:ext uri="{FF2B5EF4-FFF2-40B4-BE49-F238E27FC236}">
                    <a16:creationId xmlns:a16="http://schemas.microsoft.com/office/drawing/2014/main" id="{A740F2A1-DA9F-4D04-9F8A-7C1C87595940}"/>
                  </a:ext>
                </a:extLst>
              </p:cNvPr>
              <p:cNvSpPr/>
              <p:nvPr/>
            </p:nvSpPr>
            <p:spPr>
              <a:xfrm>
                <a:off x="6312724" y="3333213"/>
                <a:ext cx="166202" cy="156827"/>
              </a:xfrm>
              <a:custGeom>
                <a:avLst/>
                <a:gdLst>
                  <a:gd name="connsiteX0" fmla="*/ 110487 w 166202"/>
                  <a:gd name="connsiteY0" fmla="*/ 156827 h 156827"/>
                  <a:gd name="connsiteX1" fmla="*/ 65159 w 166202"/>
                  <a:gd name="connsiteY1" fmla="*/ 95787 h 156827"/>
                  <a:gd name="connsiteX2" fmla="*/ 44384 w 166202"/>
                  <a:gd name="connsiteY2" fmla="*/ 116446 h 156827"/>
                  <a:gd name="connsiteX3" fmla="*/ 44384 w 166202"/>
                  <a:gd name="connsiteY3" fmla="*/ 156827 h 156827"/>
                  <a:gd name="connsiteX4" fmla="*/ 0 w 166202"/>
                  <a:gd name="connsiteY4" fmla="*/ 156827 h 156827"/>
                  <a:gd name="connsiteX5" fmla="*/ 0 w 166202"/>
                  <a:gd name="connsiteY5" fmla="*/ 0 h 156827"/>
                  <a:gd name="connsiteX6" fmla="*/ 44384 w 166202"/>
                  <a:gd name="connsiteY6" fmla="*/ 0 h 156827"/>
                  <a:gd name="connsiteX7" fmla="*/ 44384 w 166202"/>
                  <a:gd name="connsiteY7" fmla="*/ 69492 h 156827"/>
                  <a:gd name="connsiteX8" fmla="*/ 109543 w 166202"/>
                  <a:gd name="connsiteY8" fmla="*/ 0 h 156827"/>
                  <a:gd name="connsiteX9" fmla="*/ 164314 w 166202"/>
                  <a:gd name="connsiteY9" fmla="*/ 0 h 156827"/>
                  <a:gd name="connsiteX10" fmla="*/ 97266 w 166202"/>
                  <a:gd name="connsiteY10" fmla="*/ 70431 h 156827"/>
                  <a:gd name="connsiteX11" fmla="*/ 166203 w 16620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6202" h="156827">
                    <a:moveTo>
                      <a:pt x="110487" y="156827"/>
                    </a:moveTo>
                    <a:lnTo>
                      <a:pt x="65159" y="95787"/>
                    </a:lnTo>
                    <a:lnTo>
                      <a:pt x="44384" y="116446"/>
                    </a:lnTo>
                    <a:lnTo>
                      <a:pt x="44384" y="156827"/>
                    </a:lnTo>
                    <a:lnTo>
                      <a:pt x="0" y="156827"/>
                    </a:ln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69492"/>
                    </a:lnTo>
                    <a:lnTo>
                      <a:pt x="109543" y="0"/>
                    </a:lnTo>
                    <a:lnTo>
                      <a:pt x="164314" y="0"/>
                    </a:lnTo>
                    <a:lnTo>
                      <a:pt x="97266" y="70431"/>
                    </a:lnTo>
                    <a:lnTo>
                      <a:pt x="166203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2406360" y="-27283"/>
              <a:ext cx="957286" cy="608913"/>
              <a:chOff x="2406360" y="-27283"/>
              <a:chExt cx="957286" cy="608913"/>
            </a:xfrm>
          </p:grpSpPr>
          <p:sp>
            <p:nvSpPr>
              <p:cNvPr id="25" name="Полилиния: фигура 52">
                <a:extLst>
                  <a:ext uri="{FF2B5EF4-FFF2-40B4-BE49-F238E27FC236}">
                    <a16:creationId xmlns:a16="http://schemas.microsoft.com/office/drawing/2014/main" id="{929AE324-84AF-47DC-A92A-2FE390440574}"/>
                  </a:ext>
                </a:extLst>
              </p:cNvPr>
              <p:cNvSpPr/>
              <p:nvPr/>
            </p:nvSpPr>
            <p:spPr>
              <a:xfrm>
                <a:off x="2406360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228529 w 228528"/>
                  <a:gd name="connsiteY1" fmla="*/ 365304 h 365303"/>
                  <a:gd name="connsiteX2" fmla="*/ 84046 w 228528"/>
                  <a:gd name="connsiteY2" fmla="*/ 0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228529" y="365304"/>
                    </a:lnTo>
                    <a:lnTo>
                      <a:pt x="84046" y="0"/>
                    </a:lnTo>
                    <a:close/>
                  </a:path>
                </a:pathLst>
              </a:custGeom>
              <a:solidFill>
                <a:schemeClr val="bg1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Полилиния: фигура 53">
                <a:extLst>
                  <a:ext uri="{FF2B5EF4-FFF2-40B4-BE49-F238E27FC236}">
                    <a16:creationId xmlns:a16="http://schemas.microsoft.com/office/drawing/2014/main" id="{0BCFCA76-32B6-4674-9FA0-C37DF3E37F2F}"/>
                  </a:ext>
                </a:extLst>
              </p:cNvPr>
              <p:cNvSpPr/>
              <p:nvPr/>
            </p:nvSpPr>
            <p:spPr>
              <a:xfrm>
                <a:off x="2426840" y="-27283"/>
                <a:ext cx="336348" cy="608913"/>
              </a:xfrm>
              <a:custGeom>
                <a:avLst/>
                <a:gdLst>
                  <a:gd name="connsiteX0" fmla="*/ 0 w 294632"/>
                  <a:gd name="connsiteY0" fmla="*/ 0 h 533400"/>
                  <a:gd name="connsiteX1" fmla="*/ 66103 w 294632"/>
                  <a:gd name="connsiteY1" fmla="*/ 168096 h 533400"/>
                  <a:gd name="connsiteX2" fmla="*/ 210587 w 294632"/>
                  <a:gd name="connsiteY2" fmla="*/ 533400 h 533400"/>
                  <a:gd name="connsiteX3" fmla="*/ 294632 w 294632"/>
                  <a:gd name="connsiteY3" fmla="*/ 168096 h 533400"/>
                  <a:gd name="connsiteX4" fmla="*/ 228529 w 294632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632" h="533400">
                    <a:moveTo>
                      <a:pt x="0" y="0"/>
                    </a:moveTo>
                    <a:lnTo>
                      <a:pt x="66103" y="168096"/>
                    </a:lnTo>
                    <a:lnTo>
                      <a:pt x="210587" y="533400"/>
                    </a:lnTo>
                    <a:lnTo>
                      <a:pt x="294632" y="168096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B8B9BA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Полилиния: фигура 54">
                <a:extLst>
                  <a:ext uri="{FF2B5EF4-FFF2-40B4-BE49-F238E27FC236}">
                    <a16:creationId xmlns:a16="http://schemas.microsoft.com/office/drawing/2014/main" id="{E9E6C676-2B08-44A6-BDA5-4546D35201F2}"/>
                  </a:ext>
                </a:extLst>
              </p:cNvPr>
              <p:cNvSpPr/>
              <p:nvPr/>
            </p:nvSpPr>
            <p:spPr>
              <a:xfrm>
                <a:off x="2706053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990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990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7FCAFF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Полилиния: фигура 55">
                <a:extLst>
                  <a:ext uri="{FF2B5EF4-FFF2-40B4-BE49-F238E27FC236}">
                    <a16:creationId xmlns:a16="http://schemas.microsoft.com/office/drawing/2014/main" id="{69787FAB-7C43-4ACA-B03C-9B2B39BA0220}"/>
                  </a:ext>
                </a:extLst>
              </p:cNvPr>
              <p:cNvSpPr/>
              <p:nvPr/>
            </p:nvSpPr>
            <p:spPr>
              <a:xfrm>
                <a:off x="2726534" y="-27283"/>
                <a:ext cx="337425" cy="608913"/>
              </a:xfrm>
              <a:custGeom>
                <a:avLst/>
                <a:gdLst>
                  <a:gd name="connsiteX0" fmla="*/ 295577 w 295576"/>
                  <a:gd name="connsiteY0" fmla="*/ 168096 h 533400"/>
                  <a:gd name="connsiteX1" fmla="*/ 210587 w 295576"/>
                  <a:gd name="connsiteY1" fmla="*/ 533400 h 533400"/>
                  <a:gd name="connsiteX2" fmla="*/ 67048 w 295576"/>
                  <a:gd name="connsiteY2" fmla="*/ 168096 h 533400"/>
                  <a:gd name="connsiteX3" fmla="*/ 0 w 295576"/>
                  <a:gd name="connsiteY3" fmla="*/ 0 h 533400"/>
                  <a:gd name="connsiteX4" fmla="*/ 228529 w 295576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5576" h="533400">
                    <a:moveTo>
                      <a:pt x="295577" y="168096"/>
                    </a:moveTo>
                    <a:lnTo>
                      <a:pt x="210587" y="533400"/>
                    </a:lnTo>
                    <a:lnTo>
                      <a:pt x="67048" y="168096"/>
                    </a:lnTo>
                    <a:lnTo>
                      <a:pt x="0" y="0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0071BD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Полилиния: фигура 56">
                <a:extLst>
                  <a:ext uri="{FF2B5EF4-FFF2-40B4-BE49-F238E27FC236}">
                    <a16:creationId xmlns:a16="http://schemas.microsoft.com/office/drawing/2014/main" id="{334FD48A-74DC-4258-8F86-7C2D563A322F}"/>
                  </a:ext>
                </a:extLst>
              </p:cNvPr>
              <p:cNvSpPr/>
              <p:nvPr/>
            </p:nvSpPr>
            <p:spPr>
              <a:xfrm>
                <a:off x="3006824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046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046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FF6E6E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Полилиния: фигура 57">
                <a:extLst>
                  <a:ext uri="{FF2B5EF4-FFF2-40B4-BE49-F238E27FC236}">
                    <a16:creationId xmlns:a16="http://schemas.microsoft.com/office/drawing/2014/main" id="{5D9111EF-7867-4F92-A347-E8BDB223A46F}"/>
                  </a:ext>
                </a:extLst>
              </p:cNvPr>
              <p:cNvSpPr/>
              <p:nvPr/>
            </p:nvSpPr>
            <p:spPr>
              <a:xfrm>
                <a:off x="3027298" y="-27283"/>
                <a:ext cx="336348" cy="608913"/>
              </a:xfrm>
              <a:custGeom>
                <a:avLst/>
                <a:gdLst>
                  <a:gd name="connsiteX0" fmla="*/ 294632 w 294632"/>
                  <a:gd name="connsiteY0" fmla="*/ 168096 h 533400"/>
                  <a:gd name="connsiteX1" fmla="*/ 210587 w 294632"/>
                  <a:gd name="connsiteY1" fmla="*/ 533400 h 533400"/>
                  <a:gd name="connsiteX2" fmla="*/ 66103 w 294632"/>
                  <a:gd name="connsiteY2" fmla="*/ 168096 h 533400"/>
                  <a:gd name="connsiteX3" fmla="*/ 0 w 294632"/>
                  <a:gd name="connsiteY3" fmla="*/ 0 h 533400"/>
                  <a:gd name="connsiteX4" fmla="*/ 228529 w 294632"/>
                  <a:gd name="connsiteY4" fmla="*/ 0 h 533400"/>
                  <a:gd name="connsiteX5" fmla="*/ 294632 w 294632"/>
                  <a:gd name="connsiteY5" fmla="*/ 168096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4632" h="533400">
                    <a:moveTo>
                      <a:pt x="294632" y="168096"/>
                    </a:moveTo>
                    <a:lnTo>
                      <a:pt x="210587" y="533400"/>
                    </a:lnTo>
                    <a:lnTo>
                      <a:pt x="66103" y="168096"/>
                    </a:lnTo>
                    <a:lnTo>
                      <a:pt x="0" y="0"/>
                    </a:lnTo>
                    <a:lnTo>
                      <a:pt x="228529" y="0"/>
                    </a:lnTo>
                    <a:lnTo>
                      <a:pt x="294632" y="168096"/>
                    </a:lnTo>
                    <a:close/>
                  </a:path>
                </a:pathLst>
              </a:custGeom>
              <a:solidFill>
                <a:srgbClr val="E30017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1" name="Прямоугольник 40"/>
          <p:cNvSpPr/>
          <p:nvPr/>
        </p:nvSpPr>
        <p:spPr>
          <a:xfrm>
            <a:off x="147414" y="110370"/>
            <a:ext cx="8846843" cy="461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ГС - </a:t>
            </a:r>
            <a:r>
              <a:rPr lang="en-US" sz="23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bfin.ru</a:t>
            </a:r>
            <a:endParaRPr lang="ru-RU" sz="2399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43593" y="6593826"/>
            <a:ext cx="7169096" cy="523131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и техническая поддержка:  </a:t>
            </a:r>
          </a:p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800 30 20 100,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адрес: </a:t>
            </a:r>
            <a:r>
              <a:rPr lang="en-US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bsupport@mspbank.ru</a:t>
            </a: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070688" y="1026237"/>
            <a:ext cx="5289696" cy="646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99" dirty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агов до получения кредита через портал АИС НГС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166379" y="1709145"/>
            <a:ext cx="8749876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443593" y="843612"/>
            <a:ext cx="62709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>
                <a:solidFill>
                  <a:srgbClr val="FF6E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ru-RU" sz="6000" b="1" dirty="0">
              <a:solidFill>
                <a:srgbClr val="FF6E6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713682" y="6119372"/>
            <a:ext cx="12025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СГ:</a:t>
            </a:r>
          </a:p>
        </p:txBody>
      </p:sp>
      <p:pic>
        <p:nvPicPr>
          <p:cNvPr id="46" name="Picture 2" descr="http://qrcoder.ru/code/?https%3A%2F%2Fwww.youtube.com%2Fwatch%3Fv%3DtZOI_yoRkFE%26list%3DPLwaTnG1YZVNHfWZN3An74wuOiLkNTPPvb%26index%3D1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891" y="6431891"/>
            <a:ext cx="820371" cy="103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7629891" y="6031781"/>
            <a:ext cx="9509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 </a:t>
            </a:r>
          </a:p>
          <a:p>
            <a:r>
              <a:rPr lang="ru-RU" sz="1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АИС НГС:</a:t>
            </a:r>
          </a:p>
        </p:txBody>
      </p:sp>
    </p:spTree>
    <p:extLst>
      <p:ext uri="{BB962C8B-B14F-4D97-AF65-F5344CB8AC3E}">
        <p14:creationId xmlns:p14="http://schemas.microsoft.com/office/powerpoint/2010/main" val="22530587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52" y="2378148"/>
            <a:ext cx="3666548" cy="153818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52222" y="3855624"/>
            <a:ext cx="469033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300" dirty="0">
                <a:solidFill>
                  <a:srgbClr val="0071BD"/>
                </a:solidFill>
                <a:latin typeface="Golos UI"/>
                <a:ea typeface="Golos Text VF DemiBold" pitchFamily="2" charset="0"/>
                <a:cs typeface="Golos UI Medium" panose="020B0604020202020204" pitchFamily="34" charset="-52"/>
              </a:rPr>
              <a:t>Спасибо за внимание!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2222" y="4638367"/>
            <a:ext cx="4601276" cy="2554457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r>
              <a:rPr lang="ru-RU" sz="1200" b="1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именко Василий Анатольевич</a:t>
            </a:r>
          </a:p>
          <a:p>
            <a:r>
              <a:rPr lang="ru-RU" sz="12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ональный директор</a:t>
            </a:r>
          </a:p>
          <a:p>
            <a:r>
              <a:rPr lang="ru-RU" sz="12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партамента региональных программ</a:t>
            </a:r>
          </a:p>
          <a:p>
            <a:r>
              <a:rPr lang="ru-RU" sz="1200" dirty="0"/>
              <a:t> </a:t>
            </a:r>
          </a:p>
          <a:p>
            <a:pPr>
              <a:defRPr/>
            </a:pPr>
            <a:r>
              <a:rPr lang="ru-RU" sz="1200" b="1" kern="0" dirty="0" err="1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б.тел</a:t>
            </a:r>
            <a:r>
              <a:rPr lang="ru-RU" sz="12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+7 (963) 716-18-93</a:t>
            </a:r>
          </a:p>
          <a:p>
            <a:r>
              <a:rPr lang="ru-RU" sz="1200" dirty="0"/>
              <a:t>раб. тел. +7 (843) 293-07-69</a:t>
            </a:r>
          </a:p>
          <a:p>
            <a:r>
              <a:rPr lang="en-US" sz="1200" u="sng" dirty="0">
                <a:hlinkClick r:id="rId4"/>
              </a:rPr>
              <a:t>akimenko@mspbank.ru</a:t>
            </a:r>
            <a:endParaRPr lang="ru-RU" sz="1200" u="sng" dirty="0"/>
          </a:p>
          <a:p>
            <a:endParaRPr lang="ru-RU" sz="1200" u="sng" kern="0" dirty="0">
              <a:solidFill>
                <a:srgbClr val="4D4D4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и техническая поддержка:  </a:t>
            </a:r>
          </a:p>
          <a:p>
            <a:pPr>
              <a:defRPr/>
            </a:pPr>
            <a:r>
              <a:rPr lang="ru-RU" sz="12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2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800 30 20 100, </a:t>
            </a:r>
            <a:r>
              <a:rPr lang="ru-RU" sz="12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адрес: </a:t>
            </a:r>
            <a:r>
              <a:rPr lang="en-US" sz="12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msbsupport@mspbank.ru</a:t>
            </a:r>
            <a:endParaRPr lang="ru-RU" sz="12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mspbank.ru</a:t>
            </a:r>
            <a:endParaRPr lang="ru-RU" sz="1400" b="1" kern="0" dirty="0">
              <a:solidFill>
                <a:prstClr val="black">
                  <a:lumMod val="65000"/>
                  <a:lumOff val="3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9745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9513" y="352393"/>
            <a:ext cx="8334375" cy="425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ts val="23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Льготное кредитование технологических компаний</a:t>
            </a:r>
          </a:p>
          <a:p>
            <a:pPr lvl="0" defTabSz="914400">
              <a:lnSpc>
                <a:spcPts val="2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в рамках реализации стратегической инициативы «Взлет – от </a:t>
            </a:r>
            <a:r>
              <a:rPr lang="ru-RU" sz="1600" dirty="0" err="1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стартапа</a:t>
            </a: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 до IPO»</a:t>
            </a: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24713" y="2607404"/>
            <a:ext cx="527122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ыручка от 100 млн рубле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мп роста выручки за 3 года более 12%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личие права на РИД (патент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деятельности относится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, продукция является высокотехнологично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лучена экспертиза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рпорации с участием привлеченной организац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входит в группу (как она определяется в соответствии с Международными стандартами финансовой отчетности), годовая выручка которой или, если применимо, доход которой согласно данным консолидированной финансовой отчетности составляет более 2 млрд рублей (за исключением групп, в которые входят исключительно субъекты малого и среднего предпринимательства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заемщиком не заключены кредитные договоры (соглашения), по которым ставка кредитования субсидируется в соответствии с постановлением Правительства РФ от № 1764, а также физическим лицам, применяющим специальный налоговый режим „Налог на профессиональный доход“, по льготной ставке», постановлением Правительства РФ № 1598 Соответствие используемой при производстве и (или) создании продукции технологии согласно перечня высокотехнологичных направлени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54011" y="1324268"/>
            <a:ext cx="2891575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 млн 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 лет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844034" y="2417835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% годовых</a:t>
            </a:r>
          </a:p>
          <a:p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625345" y="596671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0" y="1736931"/>
            <a:ext cx="4962161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 цел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пополнение оборотных средст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0230" y="2342716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рет заемщика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4842" y="1371810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510" y="153970"/>
            <a:ext cx="1658535" cy="356807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6261812" y="4396902"/>
            <a:ext cx="4078615" cy="2291515"/>
          </a:xfrm>
          <a:prstGeom prst="roundRect">
            <a:avLst>
              <a:gd name="adj" fmla="val 3744"/>
            </a:avLst>
          </a:prstGeom>
          <a:gradFill>
            <a:gsLst>
              <a:gs pos="17000">
                <a:srgbClr val="7452AD"/>
              </a:gs>
              <a:gs pos="75000">
                <a:srgbClr val="33244C"/>
              </a:gs>
            </a:gsLst>
            <a:lin ang="360000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B6BEE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6501690" y="6064868"/>
            <a:ext cx="3596216" cy="291867"/>
            <a:chOff x="6353175" y="3276600"/>
            <a:chExt cx="2476500" cy="419100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6353175" y="3276600"/>
              <a:ext cx="2476500" cy="419100"/>
            </a:xfrm>
            <a:prstGeom prst="roundRect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353175" y="3314324"/>
              <a:ext cx="2476500" cy="3745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ием заявок на МСП.РФ</a:t>
              </a: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565" y="4221641"/>
            <a:ext cx="4050516" cy="212496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9513" y="700760"/>
            <a:ext cx="83600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Данная программа действует в рамках Постановления Правительства РФ №469 от 25.03.2022 год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954971" y="2898423"/>
            <a:ext cx="42100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числе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виде государственных гарантий и гарантий Корпорации МСП.</a:t>
            </a:r>
          </a:p>
        </p:txBody>
      </p:sp>
    </p:spTree>
    <p:extLst>
      <p:ext uri="{BB962C8B-B14F-4D97-AF65-F5344CB8AC3E}">
        <p14:creationId xmlns:p14="http://schemas.microsoft.com/office/powerpoint/2010/main" val="2809442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-12967" y="49158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дуктов прямого кредитования</a:t>
            </a: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2277" y="1081362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оборотный франшиза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36981" y="3619456"/>
            <a:ext cx="5271226" cy="305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, индивидуальный предприниматель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от текущей деятельност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на дату подачи заявк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менее 12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у Заемщик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рицательно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кредитной истор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личие договора коммерческой концессии или иного договора, предусматривающего использование франшизы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62277" y="1464923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876845" y="2495949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876844" y="2944438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629153" y="2447989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826116" y="168574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95328" y="2100352"/>
            <a:ext cx="49621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 предоставляется Заемщику на пополнение оборотных средств, финансирование текущей деятельности в рамках приобретения и развития деятельности по франшизе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5826116" y="3815454"/>
            <a:ext cx="4576317" cy="2131264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срочка оплаты основного долга на 90 дне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 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гашение кредита – ежемесячные аннуитетные платежи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доступность из любой точки России через АИС НГС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95328" y="337787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2278" y="1733727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647465" y="1308824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629153" y="2867494"/>
            <a:ext cx="3847780" cy="892552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/11,5/10,5% годовых*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икро/ малых/средних предприятий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рамках программы стимулирования ПСК</a:t>
            </a:r>
          </a:p>
          <a:p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683620" y="3510218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 при наличии субсидирования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629153" y="1464923"/>
            <a:ext cx="37732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юридических лиц с рейтингом ААА: 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тыс. до 3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иных заемщиков: </a:t>
            </a:r>
          </a:p>
          <a:p>
            <a:pPr lvl="0"/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 тыс. до 1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971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1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дуктов прямого кредитования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04645" y="1149678"/>
            <a:ext cx="53435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кредит на оборудование, бывшее в употреблени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04645" y="3272573"/>
            <a:ext cx="527122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, индивидуальный предприниматель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от текущей деятельност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Заемщика на дату подачи заявк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менее 18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у Заемщик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рицательно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кредитной истор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77907" y="1745934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788065" y="204551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788065" y="268308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720652" y="2030126"/>
            <a:ext cx="1705223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60 месяцев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730915" y="1407012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49490" y="2368139"/>
            <a:ext cx="49621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На цели приобретения бывшего в употреблении оборудования (не старше 7 лет)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49490" y="5843532"/>
            <a:ext cx="5393622" cy="907852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 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доступность из любой точки России через АИС НГС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77908" y="2969236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7908" y="2014738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: 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647465" y="1569811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727039" y="2368139"/>
            <a:ext cx="3847780" cy="1077218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фференцированная ставка в зависимости от суммы и программы Господдержки 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 млн. руб. до 15 млн. руб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 ставк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10,25% до 15,5% </a:t>
            </a:r>
          </a:p>
          <a:p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 тыс. руб. до 1 млн. руб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 ставк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5,5%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15858" y="3761185"/>
            <a:ext cx="4682494" cy="3046899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ез залога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ез оценки оборудования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срочка оплаты основного долга 90 дней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озможность досрочного погашения кредита без комиссии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дходит субъектам МСП из туристической отрасли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варительный лимит онлайн,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инятие решения за 72 часа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еспечение: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    бесплатное зонтичное поручительство КМСП в размере 50% от суммы кредит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800111" y="3445357"/>
            <a:ext cx="17091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имущества: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720652" y="1085344"/>
            <a:ext cx="37732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юридических лиц с рейтингом ААА: 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тыс. до 15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иных заемщиков: </a:t>
            </a:r>
          </a:p>
          <a:p>
            <a:pPr lvl="0"/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 тыс. до 1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547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832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оддержка субъектов МСП </a:t>
            </a:r>
            <a:b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граммы стимулирования кредитования субъектов МСП</a:t>
            </a:r>
          </a:p>
          <a:p>
            <a:pPr fontAlgn="auto">
              <a:spcAft>
                <a:spcPts val="0"/>
              </a:spcAft>
            </a:pP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99135" y="4208226"/>
            <a:ext cx="527122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Сведения о заемщике внесены в Единый Реестр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относится к субъектам МСП, указанным в части 3 и 4* статьи 14 Федерального закона от 24.07.2007 № 209-ФЗ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связан прямо или через учредителей с долей участи в уставном капитале более 25% с иными юридическими лицами, не относящимися к категории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возбужденного производства по делу о несостоятельности (банкротстве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нерезидентов среди лиц, входящих в цепочку собственников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43161" y="1455575"/>
            <a:ext cx="3904928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0 тыс.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500 млн руб.</a:t>
            </a:r>
          </a:p>
          <a:p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                         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3 лет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245102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1" y="1730239"/>
            <a:ext cx="4962161" cy="1992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– кредиты для создания и/или приобретения </a:t>
            </a:r>
            <a:r>
              <a:rPr lang="ru-RU" sz="1000" dirty="0">
                <a:latin typeface="Century Gothic" panose="020B0502020202020204" pitchFamily="34" charset="0"/>
                <a:cs typeface="Helvetica" panose="020B0604020202020204" pitchFamily="34" charset="0"/>
              </a:rPr>
              <a:t>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000" dirty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  <a:p>
            <a:pPr>
              <a:spcAft>
                <a:spcPts val="300"/>
              </a:spcAft>
              <a:buClr>
                <a:srgbClr val="F93458"/>
              </a:buClr>
            </a:pPr>
            <a:endParaRPr lang="ru-RU" sz="1200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1348" y="3943538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овые 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4843" y="1283557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2"/>
          <p:cNvSpPr txBox="1"/>
          <p:nvPr/>
        </p:nvSpPr>
        <p:spPr>
          <a:xfrm>
            <a:off x="6116159" y="3567689"/>
            <a:ext cx="4443678" cy="741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9620" lvl="0"/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</a:t>
            </a:r>
            <a:r>
              <a:rPr lang="ru-RU" sz="1100" b="1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Б</a:t>
            </a: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н</a:t>
            </a:r>
            <a:r>
              <a:rPr lang="ru-RU" sz="1100" b="1" dirty="0">
                <a:latin typeface="Century Gothic" panose="020B0502020202020204" pitchFamily="34" charset="0"/>
                <a:cs typeface="Segoe UI"/>
              </a:rPr>
              <a:t>к</a:t>
            </a:r>
            <a:r>
              <a:rPr lang="ru-RU" sz="1100"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ред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а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л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 к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ед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ы</a:t>
            </a:r>
            <a:r>
              <a:rPr lang="ru-RU" sz="1100" spc="-2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ч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ы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з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щ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ам</a:t>
            </a:r>
            <a:r>
              <a:rPr lang="ru-RU" sz="1100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у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л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П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г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м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ы</a:t>
            </a:r>
          </a:p>
          <a:p>
            <a:pPr marL="38735" marR="5715" lvl="0">
              <a:spcBef>
                <a:spcPts val="464"/>
              </a:spcBef>
            </a:pP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 Банк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бращается в Банк России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для получения фондирования</a:t>
            </a:r>
            <a:endParaRPr lang="ru-RU" sz="11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987402" y="5228793"/>
            <a:ext cx="4536633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700" spc="-1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* Указанное требование в части п.4 ст. 14 209ФЗ не распространяется на субъектов МСП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х в качестве основного вида деятельности предпринимательскую деятельность в сфере общественного питания (в рамках классов 56 и 55 раздела I «Деятельность гостиниц и предприятий общественного питания» ОКВЭД)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е в качестве основного вида деятельности предпринимательскую деятельность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и (или) оптовой торговли, при условии, что субъект МСП зарегистрирован и (или) осуществляет такую деятельность на территориях </a:t>
            </a:r>
            <a:r>
              <a:rPr lang="ru-RU" sz="7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ДФО, СКФО, Республики Крым или г. Севастополя, Арктической зоны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торговли при условии, что субъект малого предпринимательства является микропредприятием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если с заемщиком заключен/заключается кредитный договор о предоставлении ему  кредита  в сумме до 30 млн руб. (включительно)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183457"/>
            <a:ext cx="1658535" cy="356807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911159" y="2391961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Century Gothic" panose="020B0502020202020204" pitchFamily="34" charset="0"/>
                <a:cs typeface="Helvetica" panose="020B0604020202020204" pitchFamily="34" charset="0"/>
              </a:rPr>
              <a:t> 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2%/     11,5%/   10,5% 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микро/  малых/  средних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042838" y="4443963"/>
            <a:ext cx="437698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ОКВЭД</a:t>
            </a:r>
          </a:p>
          <a:p>
            <a:pPr marL="12700" algn="just"/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Финансирование субъекта МСП возможно по всем ОКВЭД за исключение указанным в части 3 и 4* статьи 14 Федерального закона от 24.07.2007 № 209-ФЗ (добыча полезных ископаемых и подакцизная деятельность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042838" y="3202530"/>
            <a:ext cx="4245339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1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ксимальный срок </a:t>
            </a:r>
            <a:r>
              <a:rPr lang="ru-RU" sz="11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ия Программы стимулирования для конечного заемщика = </a:t>
            </a:r>
            <a:r>
              <a:rPr lang="ru-RU" sz="11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года</a:t>
            </a:r>
          </a:p>
        </p:txBody>
      </p:sp>
    </p:spTree>
    <p:extLst>
      <p:ext uri="{BB962C8B-B14F-4D97-AF65-F5344CB8AC3E}">
        <p14:creationId xmlns:p14="http://schemas.microsoft.com/office/powerpoint/2010/main" val="2810528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436187"/>
            <a:ext cx="9398524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рограмма субсидирования процентной</a:t>
            </a:r>
          </a:p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ставки, реализуемая Минэкономразвития</a:t>
            </a:r>
            <a:b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России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9977" y="1334428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375" y="59342"/>
            <a:ext cx="1249683" cy="37684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44842" y="1478170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ловия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007142"/>
              </p:ext>
            </p:extLst>
          </p:nvPr>
        </p:nvGraphicFramePr>
        <p:xfrm>
          <a:off x="247795" y="1678852"/>
          <a:ext cx="10201922" cy="2393763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1659633">
                  <a:extLst>
                    <a:ext uri="{9D8B030D-6E8A-4147-A177-3AD203B41FA5}">
                      <a16:colId xmlns:a16="http://schemas.microsoft.com/office/drawing/2014/main" val="2411965636"/>
                    </a:ext>
                  </a:extLst>
                </a:gridCol>
                <a:gridCol w="8542289">
                  <a:extLst>
                    <a:ext uri="{9D8B030D-6E8A-4147-A177-3AD203B41FA5}">
                      <a16:colId xmlns:a16="http://schemas.microsoft.com/office/drawing/2014/main" val="1622346049"/>
                    </a:ext>
                  </a:extLst>
                </a:gridCol>
              </a:tblGrid>
              <a:tr h="400011">
                <a:tc>
                  <a:txBody>
                    <a:bodyPr/>
                    <a:lstStyle/>
                    <a:p>
                      <a:pPr marL="0" indent="0" algn="l" rtl="0" fontAlgn="ctr">
                        <a:buFont typeface="Arial" panose="020B0604020202020204" pitchFamily="34" charset="0"/>
                        <a:buNone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заемщи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4012" indent="-171450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убъекты МСП; </a:t>
                      </a:r>
                    </a:p>
                    <a:p>
                      <a:pPr marL="361950" indent="-179388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амозанятые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8789319"/>
                  </a:ext>
                </a:extLst>
              </a:tr>
              <a:tr h="687561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цел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Инвестиционные цели;</a:t>
                      </a:r>
                    </a:p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Пополнение оборотных средств; </a:t>
                      </a: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ефинансирование кредита (приоритетные отрасли);</a:t>
                      </a: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развитие предпринимательской деятельност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1766475"/>
                  </a:ext>
                </a:extLst>
              </a:tr>
              <a:tr h="372597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азмер кредит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на инвестиционные цели (микропредприятия - до 200 млн. руб., малые и средние- до 500 млн. руб.) </a:t>
                      </a: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на пополнение оборотных средств (микропредприятия - до 200 млн. руб., малые и средние  - до 500 млн. руб.)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73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о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 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инвестиционные цели (с непрерывным предоставлением субсидии не более 5 лет)</a:t>
                      </a: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3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пополнение оборотных средств (с непрерывным предоставлением субсидии не более 1 года) 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3843978"/>
                  </a:ext>
                </a:extLst>
              </a:tr>
              <a:tr h="291530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% ставк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,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2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%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(ключевая ставка Банка России, действующая на дату заключения</a:t>
                      </a:r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кредитного договора (соглашения) + 2,75% годовых**)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8527727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44842" y="416644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оритетные отрасл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47439" y="4518009"/>
            <a:ext cx="4084225" cy="2314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е хозяй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роитель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дравоо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зова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производ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Услуги в сфере туризма (внутреннего и въездного)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области культуры, спорта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профессиональная, научная и техническая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формация и связь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и 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одоснабжение, водоотведение, организация сбора, обработки и утилизации отходов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827236" y="4518009"/>
            <a:ext cx="5897789" cy="233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гостиниц и предприятий общественного питания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3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сфере бытовых услуг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4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 и распределение электроэнергии, газа и воды 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5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/ оптовая торговля при условии заключения кредитного договора (соглашения) на инвестиционные цели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6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на территории моногородов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7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/оптовая торговля на территории ДФО, СКФО, Республики Крым и </a:t>
            </a:r>
            <a:r>
              <a:rPr lang="ru-RU" sz="10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.Севастополя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, Арктическая зона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8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при условии, что субъект малого предпринимательства является </a:t>
            </a:r>
            <a:r>
              <a:rPr lang="ru-RU" sz="10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предприятием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 исключением случаев, указанных в п.15-18)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9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ренда (сдача внаем), за исключением предоставления по договорам финансовой аренды (лизинга), собственного недвижимого имущества </a:t>
            </a:r>
            <a:b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за исключением земельных участков, многоквартирных домов, жилых домов, квартир и иных жилых помещений) и собственного движимого имуществ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4842" y="6976551"/>
            <a:ext cx="10407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Включая кредитные договоры, заключенные уполномоченными банками и заемщиками в 2019-2024 годах, условия которых приведены в соответствие </a:t>
            </a:r>
            <a:b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требованиями Программы субсидирования посредством заключения соответствующих дополнительных соглашений к этим кредитным договорам.</a:t>
            </a:r>
          </a:p>
          <a:p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Кредиты на развитие предпринимательской деятельности предоставляются микропредприятиям и самозанятым гражданам в размере до 10 млн рублей </a:t>
            </a:r>
            <a:b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 ставке до 11.</a:t>
            </a:r>
            <a:r>
              <a:rPr lang="en-US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959354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672" y="519366"/>
            <a:ext cx="1658535" cy="356807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915166" y="6819042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174959" y="6830995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</p:spTree>
    <p:extLst>
      <p:ext uri="{BB962C8B-B14F-4D97-AF65-F5344CB8AC3E}">
        <p14:creationId xmlns:p14="http://schemas.microsoft.com/office/powerpoint/2010/main" val="1254250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Льготное кредитование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совместной программы </a:t>
            </a:r>
            <a:r>
              <a:rPr lang="en-US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1764 </a:t>
            </a: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и ПС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7313" y="4047227"/>
            <a:ext cx="4894094" cy="2316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ен в единый реестр субъектов малого и среднего предпринимательств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на дату подачи заявки не менее 12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осуществляет подакцизную деятельность и добычу/реализацию полезных ископаемых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деятельности относится к приоритетным в рамках 1764 и ПСК (приложение №2 Программы ПСК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входит в группу с компаниями крупного бизнес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применяются процедуры несостоятельности (банкротства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8826" y="3693252"/>
            <a:ext cx="4631067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8826" y="135690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23961" y="1268258"/>
            <a:ext cx="21946" cy="4869733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5470031" y="1734369"/>
            <a:ext cx="4987999" cy="1762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производство, в том числе производство пищевых продукто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ервичная и последующая (промышленная) переработка</a:t>
            </a:r>
          </a:p>
          <a:p>
            <a:pPr>
              <a:spcAft>
                <a:spcPts val="300"/>
              </a:spcAft>
              <a:buClr>
                <a:srgbClr val="F93458"/>
              </a:buClr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хозяйственной продукции, в том числе в целях обеспечения импортозамещения и развития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сырьевого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экспорт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и хранение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гостиниц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551467" y="1376770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устимые отрасли: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77313" y="1734369"/>
            <a:ext cx="49621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– кредиты для создания и/или приобретения 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200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51467" y="445212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596878" y="514866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406337" y="3496390"/>
            <a:ext cx="3974792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00/500 млн 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икро/малых и средних 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06337" y="4117805"/>
            <a:ext cx="4051693" cy="892552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лет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льготный период – 5 лет. В течении первых 3 лет ставки 2,5-4%, затем 2 года ставка программы 1764, действующая на момент подписания договора)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39728" y="3680941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12870" y="5669395"/>
            <a:ext cx="488548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числе в виде государственных гарантий и гарантий Корпорации МСП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426416" y="5048444"/>
            <a:ext cx="3847780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4/2,5% 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микро и малых/средних предприятий</a:t>
            </a:r>
          </a:p>
          <a:p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2560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4842" y="1649763"/>
            <a:ext cx="527122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текущей деятельности (включая выплату заработной платы и прочие платежи, за исключением уплаты налогов и сборов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участия в тендере (конкурсе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97243" y="1053453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оротное кредитование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14493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14493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14494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272306" y="1656990"/>
            <a:ext cx="526402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приобретения, реконструкции, модернизации, ремонта основных средств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строительства зданий и сооружений производственного назначения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453282" y="1053453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ое кредитование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66801" y="2717279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66801" y="300466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66801" y="3325210"/>
            <a:ext cx="23645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452909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452909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452910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205216" y="2717279"/>
            <a:ext cx="327511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205217" y="3004667"/>
            <a:ext cx="185246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205218" y="3325210"/>
            <a:ext cx="4331116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1" y="3806684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44843" y="4547659"/>
            <a:ext cx="4951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финансирование расходов, связанных с исполнением контракта в рамках федеральных законов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23-ФЗ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44-ФЗ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7243" y="390513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актное кредитование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14493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14493" y="548992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14494" y="579991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66801" y="5130427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66801" y="5417815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066803" y="5738358"/>
            <a:ext cx="2364554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467684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14492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14493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2089" y="7254453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272306" y="4547659"/>
            <a:ext cx="526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 (займов), выданных другими кредитными организациями н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453282" y="390513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452909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452909" y="588202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52910" y="6462328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205217" y="5149479"/>
            <a:ext cx="4486597" cy="76944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205217" y="5832228"/>
            <a:ext cx="4331118" cy="58477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4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467684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205218" y="6431548"/>
            <a:ext cx="241882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</a:t>
            </a:r>
          </a:p>
        </p:txBody>
      </p:sp>
    </p:spTree>
    <p:extLst>
      <p:ext uri="{BB962C8B-B14F-4D97-AF65-F5344CB8AC3E}">
        <p14:creationId xmlns:p14="http://schemas.microsoft.com/office/powerpoint/2010/main" val="676963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79101" y="1073085"/>
            <a:ext cx="4833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поддержка (экспресс-оборотный, экспресс-</a:t>
            </a:r>
            <a:r>
              <a:rPr lang="ru-RU" sz="1400" b="1" dirty="0" err="1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08834" y="3093776"/>
            <a:ext cx="6245594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 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от текущей деятельности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Заемщика на дату подачи заявки не менее 12 месяце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95911" y="1507544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44191" y="540919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4191" y="572315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75574" y="4699022"/>
            <a:ext cx="5378853" cy="64633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юридических лиц с рейтингом ААА:  от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тыс. до 3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иных заемщиков: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 тыс. до 1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33071" y="5347639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33072" y="5668183"/>
            <a:ext cx="34291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,2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**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244190" y="4883687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79101" y="2094765"/>
            <a:ext cx="49621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53120" y="6103276"/>
            <a:ext cx="6411038" cy="1130990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гашение кредита – ежемесячные аннуитетные платежи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обязательно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08833" y="283670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5911" y="1786988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*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6205148" y="1786988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167549" y="2259519"/>
            <a:ext cx="4962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02444" y="1136986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ная поддержка самозанятых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11762" y="2685162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11762" y="296216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30646" y="32236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210188" y="2623606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.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210190" y="2899441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включительно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82955" y="3192886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0**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30646" y="144520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12174" y="3596982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 кредитов самозанятых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464158" y="388306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188062" y="4203880"/>
            <a:ext cx="4310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самозанятых, направленных на развитие предпринимательской деятельности, на сумму не более суммы рефинансируемого кредит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йм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 по данным БКИ.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493222" y="536276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93221" y="5707335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93223" y="613405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45529" y="5301212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лн рублей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245530" y="5692375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(включительно)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245531" y="6103276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**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%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годовых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45468" y="7305238"/>
            <a:ext cx="16658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 В зависимости от продукта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457881" y="1816762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2452913" y="7312438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272948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3.xml><?xml version="1.0" encoding="utf-8"?>
<a:theme xmlns:a="http://schemas.openxmlformats.org/drawingml/2006/main" name="2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4.xml><?xml version="1.0" encoding="utf-8"?>
<a:theme xmlns:a="http://schemas.openxmlformats.org/drawingml/2006/main" name="3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5.xml><?xml version="1.0" encoding="utf-8"?>
<a:theme xmlns:a="http://schemas.openxmlformats.org/drawingml/2006/main" name="4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14</TotalTime>
  <Words>3020</Words>
  <Application>Microsoft Office PowerPoint</Application>
  <PresentationFormat>Произвольный</PresentationFormat>
  <Paragraphs>389</Paragraphs>
  <Slides>1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34" baseType="lpstr">
      <vt:lpstr>Arial</vt:lpstr>
      <vt:lpstr>Calibri</vt:lpstr>
      <vt:lpstr>Calibri Light</vt:lpstr>
      <vt:lpstr>Century Gothic</vt:lpstr>
      <vt:lpstr>Courier New</vt:lpstr>
      <vt:lpstr>Golos Text DemiBold</vt:lpstr>
      <vt:lpstr>Golos UI</vt:lpstr>
      <vt:lpstr>Segoe UI</vt:lpstr>
      <vt:lpstr>Segoe UI Semibold</vt:lpstr>
      <vt:lpstr>Times New Roman</vt:lpstr>
      <vt:lpstr>Wingdings</vt:lpstr>
      <vt:lpstr>Тема1</vt:lpstr>
      <vt:lpstr>1_Тема1</vt:lpstr>
      <vt:lpstr>2_Тема1</vt:lpstr>
      <vt:lpstr>3_Тема1</vt:lpstr>
      <vt:lpstr>4_Тема1</vt:lpstr>
      <vt:lpstr>Тема Office</vt:lpstr>
      <vt:lpstr>1_Тема Office</vt:lpstr>
      <vt:lpstr>2_Тема Office</vt:lpstr>
      <vt:lpstr>5_Тема1</vt:lpstr>
      <vt:lpstr>Слайд think-cell</vt:lpstr>
      <vt:lpstr>Инструменты финансовой поддержки субъектов МСП  АО «МСП Бан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Нигматзянова</cp:lastModifiedBy>
  <cp:revision>434</cp:revision>
  <cp:lastPrinted>2023-05-12T07:57:28Z</cp:lastPrinted>
  <dcterms:created xsi:type="dcterms:W3CDTF">2021-02-03T17:39:42Z</dcterms:created>
  <dcterms:modified xsi:type="dcterms:W3CDTF">2023-05-12T07:57:35Z</dcterms:modified>
</cp:coreProperties>
</file>